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8" r:id="rId1"/>
    <p:sldMasterId id="2147483719" r:id="rId2"/>
  </p:sldMasterIdLst>
  <p:notesMasterIdLst>
    <p:notesMasterId r:id="rId28"/>
  </p:notesMasterIdLst>
  <p:handoutMasterIdLst>
    <p:handoutMasterId r:id="rId29"/>
  </p:handoutMasterIdLst>
  <p:sldIdLst>
    <p:sldId id="259" r:id="rId3"/>
    <p:sldId id="287" r:id="rId4"/>
    <p:sldId id="284" r:id="rId5"/>
    <p:sldId id="258" r:id="rId6"/>
    <p:sldId id="260" r:id="rId7"/>
    <p:sldId id="261" r:id="rId8"/>
    <p:sldId id="262" r:id="rId9"/>
    <p:sldId id="266" r:id="rId10"/>
    <p:sldId id="268" r:id="rId11"/>
    <p:sldId id="269" r:id="rId12"/>
    <p:sldId id="270" r:id="rId13"/>
    <p:sldId id="279" r:id="rId14"/>
    <p:sldId id="267" r:id="rId15"/>
    <p:sldId id="271" r:id="rId16"/>
    <p:sldId id="272" r:id="rId17"/>
    <p:sldId id="273" r:id="rId18"/>
    <p:sldId id="288" r:id="rId19"/>
    <p:sldId id="275" r:id="rId20"/>
    <p:sldId id="276" r:id="rId21"/>
    <p:sldId id="277" r:id="rId22"/>
    <p:sldId id="278" r:id="rId23"/>
    <p:sldId id="280" r:id="rId24"/>
    <p:sldId id="281" r:id="rId25"/>
    <p:sldId id="285" r:id="rId26"/>
    <p:sldId id="286" r:id="rId27"/>
  </p:sldIdLst>
  <p:sldSz cx="9144000" cy="6858000" type="screen4x3"/>
  <p:notesSz cx="6645275" cy="9896475"/>
  <p:defaultTextStyle>
    <a:defPPr>
      <a:defRPr lang="da-DK"/>
    </a:defPPr>
    <a:lvl1pPr algn="l" rtl="0" fontAlgn="base">
      <a:spcBef>
        <a:spcPct val="0"/>
      </a:spcBef>
      <a:spcAft>
        <a:spcPct val="0"/>
      </a:spcAft>
      <a:defRPr b="1" kern="1200">
        <a:solidFill>
          <a:srgbClr val="001965"/>
        </a:solidFill>
        <a:latin typeface="Verdana" pitchFamily="34" charset="0"/>
        <a:ea typeface="+mn-ea"/>
        <a:cs typeface="Arial" charset="0"/>
      </a:defRPr>
    </a:lvl1pPr>
    <a:lvl2pPr marL="457200" algn="l" rtl="0" fontAlgn="base">
      <a:spcBef>
        <a:spcPct val="0"/>
      </a:spcBef>
      <a:spcAft>
        <a:spcPct val="0"/>
      </a:spcAft>
      <a:defRPr b="1" kern="1200">
        <a:solidFill>
          <a:srgbClr val="001965"/>
        </a:solidFill>
        <a:latin typeface="Verdana" pitchFamily="34" charset="0"/>
        <a:ea typeface="+mn-ea"/>
        <a:cs typeface="Arial" charset="0"/>
      </a:defRPr>
    </a:lvl2pPr>
    <a:lvl3pPr marL="914400" algn="l" rtl="0" fontAlgn="base">
      <a:spcBef>
        <a:spcPct val="0"/>
      </a:spcBef>
      <a:spcAft>
        <a:spcPct val="0"/>
      </a:spcAft>
      <a:defRPr b="1" kern="1200">
        <a:solidFill>
          <a:srgbClr val="001965"/>
        </a:solidFill>
        <a:latin typeface="Verdana" pitchFamily="34" charset="0"/>
        <a:ea typeface="+mn-ea"/>
        <a:cs typeface="Arial" charset="0"/>
      </a:defRPr>
    </a:lvl3pPr>
    <a:lvl4pPr marL="1371600" algn="l" rtl="0" fontAlgn="base">
      <a:spcBef>
        <a:spcPct val="0"/>
      </a:spcBef>
      <a:spcAft>
        <a:spcPct val="0"/>
      </a:spcAft>
      <a:defRPr b="1" kern="1200">
        <a:solidFill>
          <a:srgbClr val="001965"/>
        </a:solidFill>
        <a:latin typeface="Verdana" pitchFamily="34" charset="0"/>
        <a:ea typeface="+mn-ea"/>
        <a:cs typeface="Arial" charset="0"/>
      </a:defRPr>
    </a:lvl4pPr>
    <a:lvl5pPr marL="1828800" algn="l" rtl="0" fontAlgn="base">
      <a:spcBef>
        <a:spcPct val="0"/>
      </a:spcBef>
      <a:spcAft>
        <a:spcPct val="0"/>
      </a:spcAft>
      <a:defRPr b="1" kern="1200">
        <a:solidFill>
          <a:srgbClr val="001965"/>
        </a:solidFill>
        <a:latin typeface="Verdana" pitchFamily="34" charset="0"/>
        <a:ea typeface="+mn-ea"/>
        <a:cs typeface="Arial" charset="0"/>
      </a:defRPr>
    </a:lvl5pPr>
    <a:lvl6pPr marL="2286000" algn="l" defTabSz="914400" rtl="0" eaLnBrk="1" latinLnBrk="0" hangingPunct="1">
      <a:defRPr b="1" kern="1200">
        <a:solidFill>
          <a:srgbClr val="001965"/>
        </a:solidFill>
        <a:latin typeface="Verdana" pitchFamily="34" charset="0"/>
        <a:ea typeface="+mn-ea"/>
        <a:cs typeface="Arial" charset="0"/>
      </a:defRPr>
    </a:lvl6pPr>
    <a:lvl7pPr marL="2743200" algn="l" defTabSz="914400" rtl="0" eaLnBrk="1" latinLnBrk="0" hangingPunct="1">
      <a:defRPr b="1" kern="1200">
        <a:solidFill>
          <a:srgbClr val="001965"/>
        </a:solidFill>
        <a:latin typeface="Verdana" pitchFamily="34" charset="0"/>
        <a:ea typeface="+mn-ea"/>
        <a:cs typeface="Arial" charset="0"/>
      </a:defRPr>
    </a:lvl7pPr>
    <a:lvl8pPr marL="3200400" algn="l" defTabSz="914400" rtl="0" eaLnBrk="1" latinLnBrk="0" hangingPunct="1">
      <a:defRPr b="1" kern="1200">
        <a:solidFill>
          <a:srgbClr val="001965"/>
        </a:solidFill>
        <a:latin typeface="Verdana" pitchFamily="34" charset="0"/>
        <a:ea typeface="+mn-ea"/>
        <a:cs typeface="Arial" charset="0"/>
      </a:defRPr>
    </a:lvl8pPr>
    <a:lvl9pPr marL="3657600" algn="l" defTabSz="914400" rtl="0" eaLnBrk="1" latinLnBrk="0" hangingPunct="1">
      <a:defRPr b="1" kern="1200">
        <a:solidFill>
          <a:srgbClr val="001965"/>
        </a:solidFill>
        <a:latin typeface="Verdana" pitchFamily="34"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F2EBC2"/>
    <a:srgbClr val="8DA2CC"/>
    <a:srgbClr val="EDB413"/>
    <a:srgbClr val="E8E6E3"/>
    <a:srgbClr val="C5D0E5"/>
    <a:srgbClr val="A76FDE"/>
    <a:srgbClr val="A8C903"/>
    <a:srgbClr val="FF0505"/>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4888" autoAdjust="0"/>
    <p:restoredTop sz="71515" autoAdjust="0"/>
  </p:normalViewPr>
  <p:slideViewPr>
    <p:cSldViewPr>
      <p:cViewPr varScale="1">
        <p:scale>
          <a:sx n="55" d="100"/>
          <a:sy n="55" d="100"/>
        </p:scale>
        <p:origin x="-1614" y="-90"/>
      </p:cViewPr>
      <p:guideLst>
        <p:guide orient="horz" pos="2160"/>
        <p:guide pos="2880"/>
      </p:guideLst>
    </p:cSldViewPr>
  </p:slideViewPr>
  <p:notesTextViewPr>
    <p:cViewPr>
      <p:scale>
        <a:sx n="200" d="100"/>
        <a:sy n="200" d="100"/>
      </p:scale>
      <p:origin x="0" y="0"/>
    </p:cViewPr>
  </p:notesTextViewPr>
  <p:notesViewPr>
    <p:cSldViewPr>
      <p:cViewPr varScale="1">
        <p:scale>
          <a:sx n="57" d="100"/>
          <a:sy n="57" d="100"/>
        </p:scale>
        <p:origin x="-1788" y="-84"/>
      </p:cViewPr>
      <p:guideLst>
        <p:guide orient="horz" pos="3117"/>
        <p:guide pos="2093"/>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282" name="Rectangle 2"/>
          <p:cNvSpPr>
            <a:spLocks noGrp="1" noChangeArrowheads="1"/>
          </p:cNvSpPr>
          <p:nvPr>
            <p:ph type="hdr" sz="quarter"/>
          </p:nvPr>
        </p:nvSpPr>
        <p:spPr bwMode="auto">
          <a:xfrm>
            <a:off x="514350" y="233363"/>
            <a:ext cx="3921125" cy="23336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spcBef>
                <a:spcPct val="0"/>
              </a:spcBef>
              <a:defRPr sz="900" b="0">
                <a:solidFill>
                  <a:schemeClr val="tx1"/>
                </a:solidFill>
                <a:cs typeface="+mn-cs"/>
              </a:defRPr>
            </a:lvl1pPr>
          </a:lstStyle>
          <a:p>
            <a:pPr>
              <a:defRPr/>
            </a:pPr>
            <a:endParaRPr lang="en-GB"/>
          </a:p>
        </p:txBody>
      </p:sp>
      <p:sp>
        <p:nvSpPr>
          <p:cNvPr id="225283" name="Rectangle 3"/>
          <p:cNvSpPr>
            <a:spLocks noGrp="1" noChangeArrowheads="1"/>
          </p:cNvSpPr>
          <p:nvPr>
            <p:ph type="dt" sz="quarter" idx="1"/>
          </p:nvPr>
        </p:nvSpPr>
        <p:spPr bwMode="auto">
          <a:xfrm>
            <a:off x="4435475" y="234950"/>
            <a:ext cx="1677988" cy="23653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900" b="0">
                <a:solidFill>
                  <a:schemeClr val="tx1"/>
                </a:solidFill>
                <a:cs typeface="+mn-cs"/>
              </a:defRPr>
            </a:lvl1pPr>
          </a:lstStyle>
          <a:p>
            <a:pPr>
              <a:defRPr/>
            </a:pPr>
            <a:endParaRPr lang="en-GB"/>
          </a:p>
        </p:txBody>
      </p:sp>
      <p:sp>
        <p:nvSpPr>
          <p:cNvPr id="225284" name="Rectangle 4"/>
          <p:cNvSpPr>
            <a:spLocks noGrp="1" noChangeArrowheads="1"/>
          </p:cNvSpPr>
          <p:nvPr>
            <p:ph type="ftr" sz="quarter" idx="2"/>
          </p:nvPr>
        </p:nvSpPr>
        <p:spPr bwMode="auto">
          <a:xfrm>
            <a:off x="514350" y="0"/>
            <a:ext cx="3922713" cy="23336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spcBef>
                <a:spcPct val="0"/>
              </a:spcBef>
              <a:defRPr sz="900" b="0">
                <a:solidFill>
                  <a:schemeClr val="tx1"/>
                </a:solidFill>
                <a:cs typeface="+mn-cs"/>
              </a:defRPr>
            </a:lvl1pPr>
          </a:lstStyle>
          <a:p>
            <a:pPr>
              <a:defRPr/>
            </a:pPr>
            <a:endParaRPr lang="en-GB"/>
          </a:p>
        </p:txBody>
      </p:sp>
      <p:sp>
        <p:nvSpPr>
          <p:cNvPr id="225285" name="Rectangle 5"/>
          <p:cNvSpPr>
            <a:spLocks noGrp="1" noChangeArrowheads="1"/>
          </p:cNvSpPr>
          <p:nvPr>
            <p:ph type="sldNum" sz="quarter" idx="3"/>
          </p:nvPr>
        </p:nvSpPr>
        <p:spPr bwMode="auto">
          <a:xfrm>
            <a:off x="4435475" y="0"/>
            <a:ext cx="1677988" cy="2333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900" b="0">
                <a:solidFill>
                  <a:schemeClr val="hlink"/>
                </a:solidFill>
                <a:cs typeface="+mn-cs"/>
              </a:defRPr>
            </a:lvl1pPr>
          </a:lstStyle>
          <a:p>
            <a:pPr>
              <a:defRPr/>
            </a:pPr>
            <a:fld id="{840C28D1-4C18-4D09-A0E9-3C83F38A31D3}" type="slidenum">
              <a:rPr lang="en-GB"/>
              <a:pPr>
                <a:defRPr/>
              </a:pPr>
              <a:t>‹N°›</a:t>
            </a:fld>
            <a:endParaRPr lang="en-GB"/>
          </a:p>
        </p:txBody>
      </p:sp>
      <p:pic>
        <p:nvPicPr>
          <p:cNvPr id="54278" name="Picture 13" descr="NN_m_2c_RGB"/>
          <p:cNvPicPr>
            <a:picLocks noChangeAspect="1" noChangeArrowheads="1"/>
          </p:cNvPicPr>
          <p:nvPr/>
        </p:nvPicPr>
        <p:blipFill>
          <a:blip r:embed="rId2"/>
          <a:srcRect r="9628" b="12732"/>
          <a:stretch>
            <a:fillRect/>
          </a:stretch>
        </p:blipFill>
        <p:spPr bwMode="auto">
          <a:xfrm>
            <a:off x="5538788" y="9237663"/>
            <a:ext cx="635000" cy="566737"/>
          </a:xfrm>
          <a:prstGeom prst="rect">
            <a:avLst/>
          </a:prstGeom>
          <a:noFill/>
          <a:ln w="9525">
            <a:noFill/>
            <a:miter lim="800000"/>
            <a:headEnd/>
            <a:tailEnd/>
          </a:ln>
        </p:spPr>
      </p:pic>
      <p:pic>
        <p:nvPicPr>
          <p:cNvPr id="54279" name="Picture 15" descr="CD_Stacked_BIG®_RGB"/>
          <p:cNvPicPr>
            <a:picLocks noChangeAspect="1" noChangeArrowheads="1"/>
          </p:cNvPicPr>
          <p:nvPr/>
        </p:nvPicPr>
        <p:blipFill>
          <a:blip r:embed="rId3"/>
          <a:srcRect/>
          <a:stretch>
            <a:fillRect/>
          </a:stretch>
        </p:blipFill>
        <p:spPr bwMode="auto">
          <a:xfrm>
            <a:off x="522288" y="9580563"/>
            <a:ext cx="427037" cy="1857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830263" y="233363"/>
            <a:ext cx="3398837" cy="23336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spcBef>
                <a:spcPct val="0"/>
              </a:spcBef>
              <a:defRPr sz="1000" b="0">
                <a:solidFill>
                  <a:schemeClr val="tx1"/>
                </a:solidFill>
                <a:cs typeface="+mn-cs"/>
              </a:defRPr>
            </a:lvl1pPr>
          </a:lstStyle>
          <a:p>
            <a:pPr>
              <a:defRPr/>
            </a:pPr>
            <a:endParaRPr lang="da-DK"/>
          </a:p>
        </p:txBody>
      </p:sp>
      <p:sp>
        <p:nvSpPr>
          <p:cNvPr id="8195" name="Rectangle 3"/>
          <p:cNvSpPr>
            <a:spLocks noGrp="1" noChangeArrowheads="1"/>
          </p:cNvSpPr>
          <p:nvPr>
            <p:ph type="dt" idx="1"/>
          </p:nvPr>
        </p:nvSpPr>
        <p:spPr bwMode="auto">
          <a:xfrm>
            <a:off x="4230688" y="233363"/>
            <a:ext cx="1611312" cy="23336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1000" b="0">
                <a:solidFill>
                  <a:schemeClr val="tx1"/>
                </a:solidFill>
                <a:cs typeface="+mn-cs"/>
              </a:defRPr>
            </a:lvl1pPr>
          </a:lstStyle>
          <a:p>
            <a:pPr>
              <a:defRPr/>
            </a:pPr>
            <a:endParaRPr lang="da-DK"/>
          </a:p>
        </p:txBody>
      </p:sp>
      <p:sp>
        <p:nvSpPr>
          <p:cNvPr id="28676" name="Rectangle 4"/>
          <p:cNvSpPr>
            <a:spLocks noGrp="1" noRot="1" noChangeAspect="1" noChangeArrowheads="1" noTextEdit="1"/>
          </p:cNvSpPr>
          <p:nvPr>
            <p:ph type="sldImg" idx="2"/>
          </p:nvPr>
        </p:nvSpPr>
        <p:spPr bwMode="auto">
          <a:xfrm>
            <a:off x="538163" y="774700"/>
            <a:ext cx="5594350" cy="4195763"/>
          </a:xfrm>
          <a:prstGeom prst="rect">
            <a:avLst/>
          </a:prstGeom>
          <a:noFill/>
          <a:ln w="9525">
            <a:solidFill>
              <a:schemeClr val="tx1"/>
            </a:solidFill>
            <a:miter lim="800000"/>
            <a:headEnd/>
            <a:tailEnd/>
          </a:ln>
        </p:spPr>
      </p:sp>
      <p:sp>
        <p:nvSpPr>
          <p:cNvPr id="8197" name="Rectangle 5"/>
          <p:cNvSpPr>
            <a:spLocks noGrp="1" noChangeArrowheads="1"/>
          </p:cNvSpPr>
          <p:nvPr>
            <p:ph type="body" sz="quarter" idx="3"/>
          </p:nvPr>
        </p:nvSpPr>
        <p:spPr bwMode="auto">
          <a:xfrm>
            <a:off x="830263" y="5305425"/>
            <a:ext cx="5021262" cy="36560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a-DK" noProof="0" smtClean="0"/>
              <a:t>Click to edit Master text styles</a:t>
            </a:r>
          </a:p>
          <a:p>
            <a:pPr lvl="1"/>
            <a:r>
              <a:rPr lang="da-DK" noProof="0" smtClean="0"/>
              <a:t>Second level</a:t>
            </a:r>
          </a:p>
          <a:p>
            <a:pPr lvl="2"/>
            <a:r>
              <a:rPr lang="da-DK" noProof="0" smtClean="0"/>
              <a:t>Third level</a:t>
            </a:r>
          </a:p>
          <a:p>
            <a:pPr lvl="3"/>
            <a:r>
              <a:rPr lang="da-DK" noProof="0" smtClean="0"/>
              <a:t>Fourth level</a:t>
            </a:r>
          </a:p>
          <a:p>
            <a:pPr lvl="4"/>
            <a:r>
              <a:rPr lang="da-DK" noProof="0" smtClean="0"/>
              <a:t>Fifth level</a:t>
            </a:r>
          </a:p>
        </p:txBody>
      </p:sp>
      <p:sp>
        <p:nvSpPr>
          <p:cNvPr id="8198" name="Rectangle 6"/>
          <p:cNvSpPr>
            <a:spLocks noGrp="1" noChangeArrowheads="1"/>
          </p:cNvSpPr>
          <p:nvPr>
            <p:ph type="ftr" sz="quarter" idx="4"/>
          </p:nvPr>
        </p:nvSpPr>
        <p:spPr bwMode="auto">
          <a:xfrm>
            <a:off x="839788" y="0"/>
            <a:ext cx="3390900" cy="23177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spcBef>
                <a:spcPct val="0"/>
              </a:spcBef>
              <a:defRPr sz="1000" b="0">
                <a:solidFill>
                  <a:schemeClr val="tx1"/>
                </a:solidFill>
                <a:cs typeface="+mn-cs"/>
              </a:defRPr>
            </a:lvl1pPr>
          </a:lstStyle>
          <a:p>
            <a:pPr>
              <a:defRPr/>
            </a:pPr>
            <a:endParaRPr lang="da-DK"/>
          </a:p>
        </p:txBody>
      </p:sp>
      <p:sp>
        <p:nvSpPr>
          <p:cNvPr id="8199" name="Rectangle 7"/>
          <p:cNvSpPr>
            <a:spLocks noGrp="1" noChangeArrowheads="1"/>
          </p:cNvSpPr>
          <p:nvPr>
            <p:ph type="sldNum" sz="quarter" idx="5"/>
          </p:nvPr>
        </p:nvSpPr>
        <p:spPr bwMode="auto">
          <a:xfrm>
            <a:off x="4230688" y="0"/>
            <a:ext cx="1611312" cy="2333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900" b="0">
                <a:solidFill>
                  <a:schemeClr val="hlink"/>
                </a:solidFill>
                <a:cs typeface="+mn-cs"/>
              </a:defRPr>
            </a:lvl1pPr>
          </a:lstStyle>
          <a:p>
            <a:pPr>
              <a:defRPr/>
            </a:pPr>
            <a:fld id="{38F26FD1-1E63-4116-98A0-623D7B938CB3}" type="slidenum">
              <a:rPr lang="da-DK"/>
              <a:pPr>
                <a:defRPr/>
              </a:pPr>
              <a:t>‹N°›</a:t>
            </a:fld>
            <a:endParaRPr lang="da-DK"/>
          </a:p>
        </p:txBody>
      </p:sp>
      <p:pic>
        <p:nvPicPr>
          <p:cNvPr id="28680" name="Picture 16" descr="NN_m_2c_RGB"/>
          <p:cNvPicPr>
            <a:picLocks noChangeAspect="1" noChangeArrowheads="1"/>
          </p:cNvPicPr>
          <p:nvPr/>
        </p:nvPicPr>
        <p:blipFill>
          <a:blip r:embed="rId2"/>
          <a:srcRect r="9628" b="12732"/>
          <a:stretch>
            <a:fillRect/>
          </a:stretch>
        </p:blipFill>
        <p:spPr bwMode="auto">
          <a:xfrm>
            <a:off x="5226050" y="9237663"/>
            <a:ext cx="635000" cy="566737"/>
          </a:xfrm>
          <a:prstGeom prst="rect">
            <a:avLst/>
          </a:prstGeom>
          <a:noFill/>
          <a:ln w="9525">
            <a:noFill/>
            <a:miter lim="800000"/>
            <a:headEnd/>
            <a:tailEnd/>
          </a:ln>
        </p:spPr>
      </p:pic>
      <p:pic>
        <p:nvPicPr>
          <p:cNvPr id="28681" name="Picture 21" descr="CD_Stacked_BIG®_RGB"/>
          <p:cNvPicPr>
            <a:picLocks noChangeAspect="1" noChangeArrowheads="1"/>
          </p:cNvPicPr>
          <p:nvPr/>
        </p:nvPicPr>
        <p:blipFill>
          <a:blip r:embed="rId3"/>
          <a:srcRect/>
          <a:stretch>
            <a:fillRect/>
          </a:stretch>
        </p:blipFill>
        <p:spPr bwMode="auto">
          <a:xfrm>
            <a:off x="836613" y="9580563"/>
            <a:ext cx="427037" cy="1857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Verdan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Verdan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Verdan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Verdan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p:spPr>
        <p:txBody>
          <a:bodyPr/>
          <a:lstStyle/>
          <a:p>
            <a:pPr eaLnBrk="1" hangingPunct="1"/>
            <a:r>
              <a:rPr lang="da-DK" i="1" smtClean="0">
                <a:solidFill>
                  <a:srgbClr val="000000"/>
                </a:solidFill>
                <a:sym typeface="Verdana" pitchFamily="34" charset="0"/>
              </a:rPr>
              <a:t>Cette séance a pour objet l'examen des signes cliniques et les critères qui permettent de diagnostiquer le diabète chez l'enfant</a:t>
            </a:r>
          </a:p>
        </p:txBody>
      </p:sp>
      <p:sp>
        <p:nvSpPr>
          <p:cNvPr id="27652" name="Slide Number Placeholder 3"/>
          <p:cNvSpPr>
            <a:spLocks noGrp="1"/>
          </p:cNvSpPr>
          <p:nvPr>
            <p:ph type="sldNum" sz="quarter" idx="5"/>
          </p:nvPr>
        </p:nvSpPr>
        <p:spPr/>
        <p:txBody>
          <a:bodyPr/>
          <a:lstStyle/>
          <a:p>
            <a:pPr eaLnBrk="0" hangingPunct="0">
              <a:buSzPct val="100000"/>
              <a:defRPr/>
            </a:pPr>
            <a:fld id="{3975071D-A256-432F-8E22-E57E1361D699}" type="slidenum">
              <a:rPr lang="da-DK" smtClean="0">
                <a:solidFill>
                  <a:srgbClr val="009FDA"/>
                </a:solidFill>
                <a:sym typeface="Verdana" pitchFamily="34" charset="0"/>
              </a:rPr>
              <a:pPr eaLnBrk="0" hangingPunct="0">
                <a:buSzPct val="100000"/>
                <a:defRPr/>
              </a:pPr>
              <a:t>1</a:t>
            </a:fld>
            <a:endParaRPr lang="da-DK" smtClean="0">
              <a:solidFill>
                <a:srgbClr val="009FDA"/>
              </a:solidFill>
              <a:sym typeface="Verdana"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8915"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s cellules de l'organisme ont un déficit en énergie et envoient des signaux dans le but d'augmenter l'énergie disponible dans le corps. Pour produire plus d'énergie, les réserves énergétiques du foie, des muscles et des tissus graisseux sont utilisées. Puiser dans les réserves de ces tissus engendre une perte de poids. En outre, la décomposition des graisses s'accompagne d'une production de corps cétoniques dans le sang. Ces corps cétoniques apparaissent d'abord dans le sang, puis sont excrétés dans les urines. </a:t>
            </a:r>
          </a:p>
        </p:txBody>
      </p:sp>
      <p:sp>
        <p:nvSpPr>
          <p:cNvPr id="35844" name="Slide Number Placeholder 3"/>
          <p:cNvSpPr>
            <a:spLocks noGrp="1"/>
          </p:cNvSpPr>
          <p:nvPr>
            <p:ph type="sldNum" sz="quarter" idx="5"/>
          </p:nvPr>
        </p:nvSpPr>
        <p:spPr/>
        <p:txBody>
          <a:bodyPr/>
          <a:lstStyle/>
          <a:p>
            <a:pPr eaLnBrk="0" hangingPunct="0">
              <a:buSzPct val="100000"/>
              <a:defRPr/>
            </a:pPr>
            <a:fld id="{C6DA0162-11E7-4FD6-9A26-F6DEAB449C1A}" type="slidenum">
              <a:rPr lang="da-DK" smtClean="0">
                <a:solidFill>
                  <a:srgbClr val="009FDA"/>
                </a:solidFill>
                <a:sym typeface="Verdana" pitchFamily="34" charset="0"/>
              </a:rPr>
              <a:pPr eaLnBrk="0" hangingPunct="0">
                <a:buSzPct val="100000"/>
                <a:defRPr/>
              </a:pPr>
              <a:t>11</a:t>
            </a:fld>
            <a:endParaRPr lang="da-DK" smtClean="0">
              <a:solidFill>
                <a:srgbClr val="009FDA"/>
              </a:solidFill>
              <a:sym typeface="Verdana"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s corps cétoniques sont courants dans le diabète de type 1 et sont souvent présents lors du diagnostic. Lorsque le diabète de type 1 est une maladie relativement commune et que les travailleurs de santé sont conscients de cette maladie, le diagnostic sera posé avant l'apparition des corps cétoniques. Les corps cétoniques sont rares dans le diabète de type 2. Ils apparaissent lors de la décomposition des graisses. L'apparition des corps cétoniques est un état clinique potentiellement mortel.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Les corps cétoniques peuvent donner une odeur douce à l'haleine. Lorsque leur nombre augmente, ils peuvent provoquer nausées, vomissements et douleurs d'estomac. Parfois, l'enfant souffre de douleurs dans le dos et la poitrine. Cette augmentation s'accompagne d'une acidose du sang. L'acidose donne une respiration rapide ou profonde. Au final, les corps cétoniques et l'acidose provoquent une altération du niveau de conscience à savoir des endormissements, de la somnolence, puis le coma.</a:t>
            </a:r>
          </a:p>
        </p:txBody>
      </p:sp>
      <p:sp>
        <p:nvSpPr>
          <p:cNvPr id="36868" name="Slide Number Placeholder 3"/>
          <p:cNvSpPr>
            <a:spLocks noGrp="1"/>
          </p:cNvSpPr>
          <p:nvPr>
            <p:ph type="sldNum" sz="quarter" idx="5"/>
          </p:nvPr>
        </p:nvSpPr>
        <p:spPr/>
        <p:txBody>
          <a:bodyPr/>
          <a:lstStyle/>
          <a:p>
            <a:pPr eaLnBrk="0" hangingPunct="0">
              <a:buSzPct val="100000"/>
              <a:defRPr/>
            </a:pPr>
            <a:fld id="{3DD43E68-8792-44CB-8E66-3AC038B50C1F}" type="slidenum">
              <a:rPr lang="da-DK" smtClean="0">
                <a:solidFill>
                  <a:srgbClr val="009FDA"/>
                </a:solidFill>
                <a:sym typeface="Verdana" pitchFamily="34" charset="0"/>
              </a:rPr>
              <a:pPr eaLnBrk="0" hangingPunct="0">
                <a:buSzPct val="100000"/>
                <a:defRPr/>
              </a:pPr>
              <a:t>12</a:t>
            </a:fld>
            <a:endParaRPr lang="da-DK" smtClean="0">
              <a:solidFill>
                <a:srgbClr val="009FDA"/>
              </a:solidFill>
              <a:sym typeface="Verdana"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ette diapositive présente les symptômes et les signes du diabète de type 1. L'enfant ou la famille peut se plaindre de léthargie, d'une augmentation du volume urinaire (polyurie), d'une augmentation de la soif (polydypsie), de la réapparition de l'incontinence nocturne, ou de vomissements. Ces symptômes doivent faire l'objet d'un interrogatoire poussé lorsque vous examinez un patient qui présente des symptômes vagues. Durant l'examen, l'enfant peut présenter des signes qui montrent une perte de poids (l'enfant est maigre ou a la peau lâche), il peut être déshydraté, avoir un niveau de conscience altéré ou une manière de respirer typique de l'acidose.</a:t>
            </a:r>
          </a:p>
        </p:txBody>
      </p:sp>
      <p:sp>
        <p:nvSpPr>
          <p:cNvPr id="37892" name="Slide Number Placeholder 3"/>
          <p:cNvSpPr>
            <a:spLocks noGrp="1"/>
          </p:cNvSpPr>
          <p:nvPr>
            <p:ph type="sldNum" sz="quarter" idx="5"/>
          </p:nvPr>
        </p:nvSpPr>
        <p:spPr/>
        <p:txBody>
          <a:bodyPr/>
          <a:lstStyle/>
          <a:p>
            <a:pPr eaLnBrk="0" hangingPunct="0">
              <a:buSzPct val="100000"/>
              <a:defRPr/>
            </a:pPr>
            <a:fld id="{D2E668F9-5EFE-4D3D-8264-8554F0E9715A}" type="slidenum">
              <a:rPr lang="da-DK" smtClean="0">
                <a:solidFill>
                  <a:srgbClr val="009FDA"/>
                </a:solidFill>
                <a:sym typeface="Verdana" pitchFamily="34" charset="0"/>
              </a:rPr>
              <a:pPr eaLnBrk="0" hangingPunct="0">
                <a:buSzPct val="100000"/>
                <a:defRPr/>
              </a:pPr>
              <a:t>13</a:t>
            </a:fld>
            <a:endParaRPr lang="da-DK" smtClean="0">
              <a:solidFill>
                <a:srgbClr val="009FDA"/>
              </a:solidFill>
              <a:sym typeface="Verdana"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ln/>
        </p:spPr>
      </p:sp>
      <p:sp>
        <p:nvSpPr>
          <p:cNvPr id="4198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e poster utilisé partout dans le monde montre les symptômes courants du diabète de type 1. Vous pouvez l'utiliser ou utiliser des posters du même genre pour informer les communautés sur les symptômes du diabète, afin de les aider à poser un diagnostic plus précoce. </a:t>
            </a:r>
          </a:p>
        </p:txBody>
      </p:sp>
      <p:sp>
        <p:nvSpPr>
          <p:cNvPr id="38916" name="Slide Number Placeholder 3"/>
          <p:cNvSpPr>
            <a:spLocks noGrp="1"/>
          </p:cNvSpPr>
          <p:nvPr>
            <p:ph type="sldNum" sz="quarter" idx="5"/>
          </p:nvPr>
        </p:nvSpPr>
        <p:spPr/>
        <p:txBody>
          <a:bodyPr/>
          <a:lstStyle/>
          <a:p>
            <a:pPr eaLnBrk="0" hangingPunct="0">
              <a:buSzPct val="100000"/>
              <a:defRPr/>
            </a:pPr>
            <a:fld id="{36A0031D-AB09-41DF-BA49-DF1F7AB8FB16}" type="slidenum">
              <a:rPr lang="da-DK" smtClean="0">
                <a:solidFill>
                  <a:srgbClr val="009FDA"/>
                </a:solidFill>
                <a:sym typeface="Verdana" pitchFamily="34" charset="0"/>
              </a:rPr>
              <a:pPr eaLnBrk="0" hangingPunct="0">
                <a:buSzPct val="100000"/>
                <a:defRPr/>
              </a:pPr>
              <a:t>14</a:t>
            </a:fld>
            <a:endParaRPr lang="da-DK" smtClean="0">
              <a:solidFill>
                <a:srgbClr val="009FDA"/>
              </a:solidFill>
              <a:sym typeface="Verdana"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ontrairement au diabète de type 1, le diabète de type 2 apparaît habituellement chez les personnes plus âgées. Il est dû à une résistance à l'insuline qui diminue les effets de celle-ci. Les personnes touchées sont souvent obèses, et la plupart n'ont pas de symptômes du diabète. Le diabète de type 2 peut être traité en modifiant le style de vie pour aboutir à une perte de poids, et par des médicaments à prise orale. Ces dernières années, le diabète de type 2 est devenu de plus en plus fréquent parmi les jeunes, apparaissant en général après la puberté.  </a:t>
            </a:r>
          </a:p>
        </p:txBody>
      </p:sp>
      <p:sp>
        <p:nvSpPr>
          <p:cNvPr id="39940" name="Slide Number Placeholder 3"/>
          <p:cNvSpPr>
            <a:spLocks noGrp="1"/>
          </p:cNvSpPr>
          <p:nvPr>
            <p:ph type="sldNum" sz="quarter" idx="5"/>
          </p:nvPr>
        </p:nvSpPr>
        <p:spPr/>
        <p:txBody>
          <a:bodyPr/>
          <a:lstStyle/>
          <a:p>
            <a:pPr eaLnBrk="0" hangingPunct="0">
              <a:buSzPct val="100000"/>
              <a:defRPr/>
            </a:pPr>
            <a:fld id="{63DEAD45-F6BE-4D18-B93D-C2B1AB2385A3}" type="slidenum">
              <a:rPr lang="da-DK" smtClean="0">
                <a:solidFill>
                  <a:srgbClr val="009FDA"/>
                </a:solidFill>
                <a:sym typeface="Verdana" pitchFamily="34" charset="0"/>
              </a:rPr>
              <a:pPr eaLnBrk="0" hangingPunct="0">
                <a:buSzPct val="100000"/>
                <a:defRPr/>
              </a:pPr>
              <a:t>15</a:t>
            </a:fld>
            <a:endParaRPr lang="da-DK" smtClean="0">
              <a:solidFill>
                <a:srgbClr val="009FDA"/>
              </a:solidFill>
              <a:sym typeface="Verdana"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s autres types de diabète incluent le diabète associé à la malnutrition. Il apparaît chez les enfants mal nourris, et peut être mal interprété car ces enfants sont déjà maigres à cause de la malnutrition. Le diabète du nouveau-né apparaît chez les enfants de moins de six mois. Ils sont habituellement traités avec de l'insuline une fois le diagnostic établi. Le diabète du nouveau-né est dû à une mutation génétique. Certains enfants ayant des mutations génétiques spécifiques peuvent être traités avec la même médication orale que les adultes atteints de diabète de type 2. Le diabète monogénique du jeune (maturity onset diabetes of the young) est souvent désigné sous le nom de MODY. Il s'agit également d'une anomalie génétique qui se retrouve sur au moins trois générations d'une même famille. Chez ces personnes, le diabète commence habituellement avant l'âge de 25 ans.  Ce type de diabète est en général assez bénin et peut être traité avec un régime alimentaire approprié et parfois avec des comprimés. Le diabète gestationnel apparaît durant la grossesse et disparaît en fin de grossesse. N'oubliez pas que celui-ci peut apparaître chez les adolescentes. </a:t>
            </a:r>
          </a:p>
        </p:txBody>
      </p:sp>
      <p:sp>
        <p:nvSpPr>
          <p:cNvPr id="40964" name="Slide Number Placeholder 3"/>
          <p:cNvSpPr>
            <a:spLocks noGrp="1"/>
          </p:cNvSpPr>
          <p:nvPr>
            <p:ph type="sldNum" sz="quarter" idx="5"/>
          </p:nvPr>
        </p:nvSpPr>
        <p:spPr/>
        <p:txBody>
          <a:bodyPr/>
          <a:lstStyle/>
          <a:p>
            <a:pPr eaLnBrk="0" hangingPunct="0">
              <a:buSzPct val="100000"/>
              <a:defRPr/>
            </a:pPr>
            <a:fld id="{B56C7F24-072D-4E20-8F55-B1F725EAE0C4}" type="slidenum">
              <a:rPr lang="da-DK" smtClean="0">
                <a:solidFill>
                  <a:srgbClr val="009FDA"/>
                </a:solidFill>
                <a:sym typeface="Verdana" pitchFamily="34" charset="0"/>
              </a:rPr>
              <a:pPr eaLnBrk="0" hangingPunct="0">
                <a:buSzPct val="100000"/>
                <a:defRPr/>
              </a:pPr>
              <a:t>16</a:t>
            </a:fld>
            <a:endParaRPr lang="da-DK" smtClean="0">
              <a:solidFill>
                <a:srgbClr val="009FDA"/>
              </a:solidFill>
              <a:sym typeface="Verdana"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xfrm>
            <a:off x="539750" y="773113"/>
            <a:ext cx="5594350" cy="4195762"/>
          </a:xfrm>
          <a:ln/>
        </p:spPr>
      </p:sp>
      <p:sp>
        <p:nvSpPr>
          <p:cNvPr id="45059" name="Notes Placeholder 2"/>
          <p:cNvSpPr>
            <a:spLocks noGrp="1"/>
          </p:cNvSpPr>
          <p:nvPr>
            <p:ph type="body" idx="1"/>
          </p:nvPr>
        </p:nvSpPr>
        <p:spPr>
          <a:xfrm>
            <a:off x="828675" y="5305425"/>
            <a:ext cx="5022850" cy="3657600"/>
          </a:xfrm>
          <a:noFill/>
          <a:ln/>
        </p:spPr>
        <p:txBody>
          <a:bodyPr/>
          <a:lstStyle/>
          <a:p>
            <a:pPr eaLnBrk="1" hangingPunct="1"/>
            <a:r>
              <a:rPr lang="da-DK" smtClean="0">
                <a:solidFill>
                  <a:srgbClr val="000000"/>
                </a:solidFill>
                <a:sym typeface="Verdana" pitchFamily="34" charset="0"/>
              </a:rPr>
              <a:t>Réponse aux questions. </a:t>
            </a:r>
          </a:p>
        </p:txBody>
      </p:sp>
      <p:sp>
        <p:nvSpPr>
          <p:cNvPr id="45060" name="Slide Number Placeholder 3"/>
          <p:cNvSpPr txBox="1">
            <a:spLocks noGrp="1"/>
          </p:cNvSpPr>
          <p:nvPr/>
        </p:nvSpPr>
        <p:spPr bwMode="auto">
          <a:xfrm>
            <a:off x="4229100" y="0"/>
            <a:ext cx="1612900" cy="233363"/>
          </a:xfrm>
          <a:prstGeom prst="rect">
            <a:avLst/>
          </a:prstGeom>
          <a:noFill/>
          <a:ln w="9525">
            <a:noFill/>
            <a:miter lim="800000"/>
            <a:headEnd/>
            <a:tailEnd/>
          </a:ln>
        </p:spPr>
        <p:txBody>
          <a:bodyPr lIns="0" tIns="0" rIns="0" bIns="0" anchor="ctr"/>
          <a:lstStyle/>
          <a:p>
            <a:pPr algn="r" eaLnBrk="0" hangingPunct="0">
              <a:buSzPct val="100000"/>
            </a:pPr>
            <a:fld id="{7B8E84D0-F724-4859-BA1A-931DD4BD3DF8}" type="slidenum">
              <a:rPr lang="da-DK" sz="900" b="0">
                <a:solidFill>
                  <a:srgbClr val="009FDA"/>
                </a:solidFill>
                <a:sym typeface="Verdana" pitchFamily="34" charset="0"/>
              </a:rPr>
              <a:pPr algn="r" eaLnBrk="0" hangingPunct="0">
                <a:buSzPct val="100000"/>
              </a:pPr>
              <a:t>17</a:t>
            </a:fld>
            <a:endParaRPr lang="da-DK" sz="900" b="0">
              <a:solidFill>
                <a:srgbClr val="009FDA"/>
              </a:solidFill>
              <a:sym typeface="Verdana"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Une fois le diagnostic suspecté sur la base des symptômes et signes présents, il doit être confirmé.</a:t>
            </a:r>
          </a:p>
        </p:txBody>
      </p:sp>
      <p:sp>
        <p:nvSpPr>
          <p:cNvPr id="43012" name="Slide Number Placeholder 3"/>
          <p:cNvSpPr>
            <a:spLocks noGrp="1"/>
          </p:cNvSpPr>
          <p:nvPr>
            <p:ph type="sldNum" sz="quarter" idx="5"/>
          </p:nvPr>
        </p:nvSpPr>
        <p:spPr/>
        <p:txBody>
          <a:bodyPr/>
          <a:lstStyle/>
          <a:p>
            <a:pPr eaLnBrk="0" hangingPunct="0">
              <a:buSzPct val="100000"/>
              <a:defRPr/>
            </a:pPr>
            <a:fld id="{91D5B726-859B-43B4-915A-68FC870A6068}" type="slidenum">
              <a:rPr lang="da-DK" smtClean="0">
                <a:solidFill>
                  <a:srgbClr val="009FDA"/>
                </a:solidFill>
                <a:sym typeface="Verdana" pitchFamily="34" charset="0"/>
              </a:rPr>
              <a:pPr eaLnBrk="0" hangingPunct="0">
                <a:buSzPct val="100000"/>
                <a:defRPr/>
              </a:pPr>
              <a:t>18</a:t>
            </a:fld>
            <a:endParaRPr lang="da-DK" smtClean="0">
              <a:solidFill>
                <a:srgbClr val="009FDA"/>
              </a:solidFill>
              <a:sym typeface="Verdana"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 diagnostic du diabète peut être confirmé par la présence des critères suivants : chez une personne qui présente les symptômes du diabète, une glycémie supérieure ou égale à 11,1 confirme le diagnostic. La glycémie doit être supérieure à 11,1 plus d'une fois pour confirmer le diagnostic. Cette glycémie occasionnelle ou aléatoire peut être mesurée à toute heure du jour, elle n'est pas déterminée par les repas.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En variante, une glycémie à jeun de 7 mmol/l ou plus pourra confirmer le diagnostic. La glycémie à jeun est obtenue lorsque la personne s'abstient d'absorber des aliments énergétiques pendant plus de 8 heures.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La glycémie peut être mesurée en laboratoire ou avec un glucomètre.</a:t>
            </a:r>
          </a:p>
        </p:txBody>
      </p:sp>
      <p:sp>
        <p:nvSpPr>
          <p:cNvPr id="44036" name="Slide Number Placeholder 3"/>
          <p:cNvSpPr>
            <a:spLocks noGrp="1"/>
          </p:cNvSpPr>
          <p:nvPr>
            <p:ph type="sldNum" sz="quarter" idx="5"/>
          </p:nvPr>
        </p:nvSpPr>
        <p:spPr/>
        <p:txBody>
          <a:bodyPr/>
          <a:lstStyle/>
          <a:p>
            <a:pPr eaLnBrk="0" hangingPunct="0">
              <a:buSzPct val="100000"/>
              <a:defRPr/>
            </a:pPr>
            <a:fld id="{DFE81E90-4500-44A9-93FD-2049F673C05D}" type="slidenum">
              <a:rPr lang="da-DK" smtClean="0">
                <a:solidFill>
                  <a:srgbClr val="009FDA"/>
                </a:solidFill>
                <a:sym typeface="Verdana" pitchFamily="34" charset="0"/>
              </a:rPr>
              <a:pPr eaLnBrk="0" hangingPunct="0">
                <a:buSzPct val="100000"/>
                <a:defRPr/>
              </a:pPr>
              <a:t>19</a:t>
            </a:fld>
            <a:endParaRPr lang="da-DK" smtClean="0">
              <a:solidFill>
                <a:srgbClr val="009FDA"/>
              </a:solidFill>
              <a:sym typeface="Verdana"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p:spPr>
      </p:sp>
      <p:sp>
        <p:nvSpPr>
          <p:cNvPr id="4813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S'il n'est pas possible de réaliser un test de glycémie, il peut être très pratique d'utiliser une bandelette urinaire. La mise en évidence du glucose par une bandelette urinaire signifie que la glycémie est supérieure à 10 mmol/l. En outre, l'apparition de corps cétoniques avec la glycémie renforce la présomption du diabète. Il peut arriver que des corps cétoniques soient présents dans l'urine d'un enfant qui n'a pas mangé pendant un certain temps, en cas de diarrhée aiguë par exemple.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En présence de corps cétoniques, l'enfant doit être traité en urgence le jour même afin d'éviter l'apparition d'une forme plus grave d'acidocétose diabétique.</a:t>
            </a:r>
          </a:p>
        </p:txBody>
      </p:sp>
      <p:sp>
        <p:nvSpPr>
          <p:cNvPr id="45060" name="Slide Number Placeholder 3"/>
          <p:cNvSpPr>
            <a:spLocks noGrp="1"/>
          </p:cNvSpPr>
          <p:nvPr>
            <p:ph type="sldNum" sz="quarter" idx="5"/>
          </p:nvPr>
        </p:nvSpPr>
        <p:spPr/>
        <p:txBody>
          <a:bodyPr/>
          <a:lstStyle/>
          <a:p>
            <a:pPr eaLnBrk="0" hangingPunct="0">
              <a:buSzPct val="100000"/>
              <a:defRPr/>
            </a:pPr>
            <a:fld id="{5C03B0CE-EF8F-4512-9847-48D952EBA692}" type="slidenum">
              <a:rPr lang="da-DK" smtClean="0">
                <a:solidFill>
                  <a:srgbClr val="009FDA"/>
                </a:solidFill>
                <a:sym typeface="Verdana" pitchFamily="34" charset="0"/>
              </a:rPr>
              <a:pPr eaLnBrk="0" hangingPunct="0">
                <a:buSzPct val="100000"/>
                <a:defRPr/>
              </a:pPr>
              <a:t>20</a:t>
            </a:fld>
            <a:endParaRPr lang="da-DK" smtClean="0">
              <a:solidFill>
                <a:srgbClr val="009FDA"/>
              </a:solidFill>
              <a:sym typeface="Verdana"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0723" name="Notes Placeholder 2"/>
          <p:cNvSpPr>
            <a:spLocks noGrp="1"/>
          </p:cNvSpPr>
          <p:nvPr>
            <p:ph type="body" idx="1"/>
          </p:nvPr>
        </p:nvSpPr>
        <p:spPr>
          <a:noFill/>
          <a:ln/>
        </p:spPr>
        <p:txBody>
          <a:bodyPr/>
          <a:lstStyle/>
          <a:p>
            <a:pPr eaLnBrk="1" hangingPunct="1"/>
            <a:r>
              <a:rPr lang="da-DK" i="1" smtClean="0">
                <a:solidFill>
                  <a:srgbClr val="000000"/>
                </a:solidFill>
                <a:sym typeface="Verdana" pitchFamily="34" charset="0"/>
              </a:rPr>
              <a:t>Cette séance a pour objet l'examen des signes cliniques et les critères qui permettent de diagnostiquer le diabète chez l'enfant</a:t>
            </a:r>
          </a:p>
        </p:txBody>
      </p:sp>
      <p:sp>
        <p:nvSpPr>
          <p:cNvPr id="30724" name="Slide Number Placeholder 3"/>
          <p:cNvSpPr txBox="1">
            <a:spLocks noGrp="1"/>
          </p:cNvSpPr>
          <p:nvPr/>
        </p:nvSpPr>
        <p:spPr bwMode="auto">
          <a:xfrm>
            <a:off x="4230688" y="0"/>
            <a:ext cx="1611312" cy="233363"/>
          </a:xfrm>
          <a:prstGeom prst="rect">
            <a:avLst/>
          </a:prstGeom>
          <a:noFill/>
          <a:ln w="9525">
            <a:noFill/>
            <a:miter lim="800000"/>
            <a:headEnd/>
            <a:tailEnd/>
          </a:ln>
        </p:spPr>
        <p:txBody>
          <a:bodyPr lIns="0" tIns="0" rIns="0" bIns="0" anchor="ctr"/>
          <a:lstStyle/>
          <a:p>
            <a:pPr algn="r" eaLnBrk="0" hangingPunct="0">
              <a:buSzPct val="100000"/>
            </a:pPr>
            <a:fld id="{BABE72F8-D665-47F9-A681-05A9D1AE03CA}" type="slidenum">
              <a:rPr lang="da-DK" sz="900" b="0">
                <a:solidFill>
                  <a:srgbClr val="009FDA"/>
                </a:solidFill>
                <a:sym typeface="Verdana" pitchFamily="34" charset="0"/>
              </a:rPr>
              <a:pPr algn="r" eaLnBrk="0" hangingPunct="0">
                <a:buSzPct val="100000"/>
              </a:pPr>
              <a:t>3</a:t>
            </a:fld>
            <a:endParaRPr lang="da-DK" sz="900" b="0">
              <a:solidFill>
                <a:srgbClr val="009FDA"/>
              </a:solidFill>
              <a:sym typeface="Verdana"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s glucomètres sont de petits appareils portatifs capables de mesurer le taux de glucose sanguin. Une petite goutte de sang est déposée sur une bandelette en plastique qui est glissée dans le glucomètre. Une mesure de la glycémie s'affiche sur l'écran de l'appareil dans les 5 à 10 secondes qui suivent. Les résultats sont habituellement précis, mais il peut y avoir de légères différences entre les mesures du glucomètre et celles obtenues en laboratoire. N'oubliez pas que les glucomètres demandent souvent un codage, et que les bandelettes ont une durée de vie limitée et peuvent se périmer. Il est nécessaire de prendre certaines précautions pour s'assurer que le glucomètre fonctionne correctement.</a:t>
            </a:r>
          </a:p>
        </p:txBody>
      </p:sp>
      <p:sp>
        <p:nvSpPr>
          <p:cNvPr id="46084" name="Slide Number Placeholder 3"/>
          <p:cNvSpPr>
            <a:spLocks noGrp="1"/>
          </p:cNvSpPr>
          <p:nvPr>
            <p:ph type="sldNum" sz="quarter" idx="5"/>
          </p:nvPr>
        </p:nvSpPr>
        <p:spPr/>
        <p:txBody>
          <a:bodyPr/>
          <a:lstStyle/>
          <a:p>
            <a:pPr eaLnBrk="0" hangingPunct="0">
              <a:buSzPct val="100000"/>
              <a:defRPr/>
            </a:pPr>
            <a:fld id="{77F69F50-1047-47D0-8588-8B633B9E1328}" type="slidenum">
              <a:rPr lang="da-DK" smtClean="0">
                <a:solidFill>
                  <a:srgbClr val="009FDA"/>
                </a:solidFill>
                <a:sym typeface="Verdana" pitchFamily="34" charset="0"/>
              </a:rPr>
              <a:pPr eaLnBrk="0" hangingPunct="0">
                <a:buSzPct val="100000"/>
                <a:defRPr/>
              </a:pPr>
              <a:t>21</a:t>
            </a:fld>
            <a:endParaRPr lang="da-DK" smtClean="0">
              <a:solidFill>
                <a:srgbClr val="009FDA"/>
              </a:solidFill>
              <a:sym typeface="Verdana"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Parmi ces précautions, assurez-vous que la marque des bandelettes est la même que celle du glucomètre. Assurez-vous aussi que le code des bandelettes et celui du glucomètre sont identiques et que les bandelettes n'ont pas dépassé la date de péremption. Assurez-vous enfin que votre glucomètre utilise des unités de mesure que vous connaissez bien. Votre manuel indique différentes unités de mesure et vous explique comment convertir une mesure aux unités qui vous sont familières.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Vos mains, comme celles de vos patients, doivent être lavées. Des résidus sur les doigts peuvent perturber les mesures. Assurez-vous que vous utilisez la technique recommandée par le fabricant. </a:t>
            </a:r>
            <a:r>
              <a:rPr lang="da-DK" i="1" smtClean="0">
                <a:solidFill>
                  <a:srgbClr val="000000"/>
                </a:solidFill>
                <a:sym typeface="Verdana" pitchFamily="34" charset="0"/>
              </a:rPr>
              <a:t>Veuillez ajouter des commentaires sur la technique du glucomètre utilisé localement. </a:t>
            </a:r>
            <a:r>
              <a:rPr lang="da-DK" smtClean="0">
                <a:solidFill>
                  <a:srgbClr val="000000"/>
                </a:solidFill>
                <a:sym typeface="Verdana" pitchFamily="34" charset="0"/>
              </a:rPr>
              <a:t>Jetez les bandelettes après les avoir utilisées une fois. Elles ne peuvent pas être réutilisées. Ne partagez pas et ne réutilisez pas les lancettes. Assurez-vous que les lancettes sont jetées en respectant les précautions d'usage. </a:t>
            </a:r>
          </a:p>
        </p:txBody>
      </p:sp>
      <p:sp>
        <p:nvSpPr>
          <p:cNvPr id="47108" name="Slide Number Placeholder 3"/>
          <p:cNvSpPr>
            <a:spLocks noGrp="1"/>
          </p:cNvSpPr>
          <p:nvPr>
            <p:ph type="sldNum" sz="quarter" idx="5"/>
          </p:nvPr>
        </p:nvSpPr>
        <p:spPr/>
        <p:txBody>
          <a:bodyPr/>
          <a:lstStyle/>
          <a:p>
            <a:pPr eaLnBrk="0" hangingPunct="0">
              <a:buSzPct val="100000"/>
              <a:defRPr/>
            </a:pPr>
            <a:fld id="{83BB1AD7-8AE4-442E-B6A5-E6057B62B800}" type="slidenum">
              <a:rPr lang="da-DK" smtClean="0">
                <a:solidFill>
                  <a:srgbClr val="009FDA"/>
                </a:solidFill>
                <a:sym typeface="Verdana" pitchFamily="34" charset="0"/>
              </a:rPr>
              <a:pPr eaLnBrk="0" hangingPunct="0">
                <a:buSzPct val="100000"/>
                <a:defRPr/>
              </a:pPr>
              <a:t>22</a:t>
            </a:fld>
            <a:endParaRPr lang="da-DK" smtClean="0">
              <a:solidFill>
                <a:srgbClr val="009FDA"/>
              </a:solidFill>
              <a:sym typeface="Verdana"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Je propose des démonstrations pratiques, et que les participants s'entraînent à l'utilisation des glucomètres et des bandelettes urinaires durant la pause-thé. </a:t>
            </a:r>
          </a:p>
        </p:txBody>
      </p:sp>
      <p:sp>
        <p:nvSpPr>
          <p:cNvPr id="48132" name="Slide Number Placeholder 3"/>
          <p:cNvSpPr>
            <a:spLocks noGrp="1"/>
          </p:cNvSpPr>
          <p:nvPr>
            <p:ph type="sldNum" sz="quarter" idx="5"/>
          </p:nvPr>
        </p:nvSpPr>
        <p:spPr/>
        <p:txBody>
          <a:bodyPr/>
          <a:lstStyle/>
          <a:p>
            <a:pPr eaLnBrk="0" hangingPunct="0">
              <a:buSzPct val="100000"/>
              <a:defRPr/>
            </a:pPr>
            <a:fld id="{DDE35EBB-4EF8-4DBE-A480-94627A3A0194}" type="slidenum">
              <a:rPr lang="da-DK" smtClean="0">
                <a:solidFill>
                  <a:srgbClr val="009FDA"/>
                </a:solidFill>
                <a:sym typeface="Verdana" pitchFamily="34" charset="0"/>
              </a:rPr>
              <a:pPr eaLnBrk="0" hangingPunct="0">
                <a:buSzPct val="100000"/>
                <a:defRPr/>
              </a:pPr>
              <a:t>23</a:t>
            </a:fld>
            <a:endParaRPr lang="da-DK" smtClean="0">
              <a:solidFill>
                <a:srgbClr val="009FDA"/>
              </a:solidFill>
              <a:sym typeface="Verdana"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xfrm>
            <a:off x="539750" y="774700"/>
            <a:ext cx="5594350" cy="4195763"/>
          </a:xfrm>
          <a:ln/>
        </p:spPr>
      </p:sp>
      <p:sp>
        <p:nvSpPr>
          <p:cNvPr id="52227" name="Notes Placeholder 2"/>
          <p:cNvSpPr>
            <a:spLocks noGrp="1"/>
          </p:cNvSpPr>
          <p:nvPr>
            <p:ph type="body" idx="1"/>
          </p:nvPr>
        </p:nvSpPr>
        <p:spPr>
          <a:xfrm>
            <a:off x="828675" y="5305425"/>
            <a:ext cx="5022850" cy="3656013"/>
          </a:xfrm>
          <a:noFill/>
          <a:ln/>
        </p:spPr>
        <p:txBody>
          <a:bodyPr/>
          <a:lstStyle/>
          <a:p>
            <a:pPr eaLnBrk="1" hangingPunct="1"/>
            <a:r>
              <a:rPr lang="da-DK" smtClean="0">
                <a:solidFill>
                  <a:srgbClr val="000000"/>
                </a:solidFill>
                <a:sym typeface="Verdana" pitchFamily="34" charset="0"/>
              </a:rPr>
              <a:t>Réponse aux questions. </a:t>
            </a:r>
          </a:p>
        </p:txBody>
      </p:sp>
      <p:sp>
        <p:nvSpPr>
          <p:cNvPr id="52228" name="Slide Number Placeholder 3"/>
          <p:cNvSpPr txBox="1">
            <a:spLocks noGrp="1"/>
          </p:cNvSpPr>
          <p:nvPr/>
        </p:nvSpPr>
        <p:spPr bwMode="auto">
          <a:xfrm>
            <a:off x="4230688" y="0"/>
            <a:ext cx="1611312" cy="233363"/>
          </a:xfrm>
          <a:prstGeom prst="rect">
            <a:avLst/>
          </a:prstGeom>
          <a:noFill/>
          <a:ln w="9525">
            <a:noFill/>
            <a:miter lim="800000"/>
            <a:headEnd/>
            <a:tailEnd/>
          </a:ln>
        </p:spPr>
        <p:txBody>
          <a:bodyPr lIns="0" tIns="0" rIns="0" bIns="0" anchor="ctr"/>
          <a:lstStyle/>
          <a:p>
            <a:pPr algn="r" eaLnBrk="0" hangingPunct="0">
              <a:buSzPct val="100000"/>
            </a:pPr>
            <a:fld id="{696E14A7-E0EF-4937-8E72-960EB0E9816A}" type="slidenum">
              <a:rPr lang="da-DK" sz="900" b="0">
                <a:solidFill>
                  <a:srgbClr val="009FDA"/>
                </a:solidFill>
                <a:sym typeface="Verdana" pitchFamily="34" charset="0"/>
              </a:rPr>
              <a:pPr algn="r" eaLnBrk="0" hangingPunct="0">
                <a:buSzPct val="100000"/>
              </a:pPr>
              <a:t>24</a:t>
            </a:fld>
            <a:endParaRPr lang="da-DK" sz="900" b="0">
              <a:solidFill>
                <a:srgbClr val="009FDA"/>
              </a:solidFill>
              <a:sym typeface="Verdana"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txBox="1">
            <a:spLocks noGrp="1" noChangeArrowheads="1"/>
          </p:cNvSpPr>
          <p:nvPr/>
        </p:nvSpPr>
        <p:spPr bwMode="auto">
          <a:xfrm>
            <a:off x="4230688" y="0"/>
            <a:ext cx="1611312" cy="233363"/>
          </a:xfrm>
          <a:prstGeom prst="rect">
            <a:avLst/>
          </a:prstGeom>
          <a:noFill/>
          <a:ln w="9525">
            <a:noFill/>
            <a:miter lim="800000"/>
            <a:headEnd/>
            <a:tailEnd/>
          </a:ln>
        </p:spPr>
        <p:txBody>
          <a:bodyPr lIns="0" tIns="0" rIns="0" bIns="0" anchor="ctr"/>
          <a:lstStyle/>
          <a:p>
            <a:pPr algn="r" eaLnBrk="0" hangingPunct="0">
              <a:buSzPct val="100000"/>
            </a:pPr>
            <a:fld id="{75E7221F-B3C2-429A-B535-19888D3565C1}" type="slidenum">
              <a:rPr lang="da-DK" sz="900" b="0">
                <a:solidFill>
                  <a:srgbClr val="009FDA"/>
                </a:solidFill>
                <a:sym typeface="Verdana" pitchFamily="34" charset="0"/>
              </a:rPr>
              <a:pPr algn="r" eaLnBrk="0" hangingPunct="0">
                <a:buSzPct val="100000"/>
              </a:pPr>
              <a:t>25</a:t>
            </a:fld>
            <a:endParaRPr lang="da-DK" sz="900" b="0">
              <a:solidFill>
                <a:srgbClr val="009FDA"/>
              </a:solidFill>
              <a:sym typeface="Verdana" pitchFamily="34" charset="0"/>
            </a:endParaRPr>
          </a:p>
        </p:txBody>
      </p:sp>
      <p:sp>
        <p:nvSpPr>
          <p:cNvPr id="53251" name="Rectangle 7"/>
          <p:cNvSpPr txBox="1">
            <a:spLocks noGrp="1" noChangeArrowheads="1"/>
          </p:cNvSpPr>
          <p:nvPr/>
        </p:nvSpPr>
        <p:spPr bwMode="auto">
          <a:xfrm>
            <a:off x="4230688" y="0"/>
            <a:ext cx="1611312" cy="233363"/>
          </a:xfrm>
          <a:prstGeom prst="rect">
            <a:avLst/>
          </a:prstGeom>
          <a:noFill/>
          <a:ln w="9525">
            <a:noFill/>
            <a:miter lim="800000"/>
            <a:headEnd/>
            <a:tailEnd/>
          </a:ln>
        </p:spPr>
        <p:txBody>
          <a:bodyPr lIns="0" tIns="0" rIns="0" bIns="0" anchor="ctr"/>
          <a:lstStyle/>
          <a:p>
            <a:pPr algn="r" eaLnBrk="0" hangingPunct="0">
              <a:buSzPct val="100000"/>
            </a:pPr>
            <a:fld id="{0B188012-7AA4-4A84-9AB3-786678CFBD41}" type="slidenum">
              <a:rPr lang="da-DK" sz="900" b="0">
                <a:solidFill>
                  <a:srgbClr val="009FDA"/>
                </a:solidFill>
                <a:sym typeface="Verdana" pitchFamily="34" charset="0"/>
              </a:rPr>
              <a:pPr algn="r" eaLnBrk="0" hangingPunct="0">
                <a:buSzPct val="100000"/>
              </a:pPr>
              <a:t>25</a:t>
            </a:fld>
            <a:endParaRPr lang="da-DK" sz="900" b="0">
              <a:solidFill>
                <a:srgbClr val="009FDA"/>
              </a:solidFill>
              <a:sym typeface="Verdana" pitchFamily="34" charset="0"/>
            </a:endParaRPr>
          </a:p>
        </p:txBody>
      </p:sp>
      <p:sp>
        <p:nvSpPr>
          <p:cNvPr id="53252" name="Rectangle 2"/>
          <p:cNvSpPr>
            <a:spLocks noGrp="1" noRot="1" noChangeAspect="1" noChangeArrowheads="1" noTextEdit="1"/>
          </p:cNvSpPr>
          <p:nvPr>
            <p:ph type="sldImg"/>
          </p:nvPr>
        </p:nvSpPr>
        <p:spPr>
          <a:xfrm>
            <a:off x="850900" y="742950"/>
            <a:ext cx="4948238" cy="3711575"/>
          </a:xfrm>
          <a:ln/>
        </p:spPr>
      </p:sp>
      <p:sp>
        <p:nvSpPr>
          <p:cNvPr id="53253" name="Rectangle 3"/>
          <p:cNvSpPr>
            <a:spLocks noGrp="1" noChangeArrowheads="1"/>
          </p:cNvSpPr>
          <p:nvPr>
            <p:ph type="body" idx="1"/>
          </p:nvPr>
        </p:nvSpPr>
        <p:spPr>
          <a:xfrm>
            <a:off x="665163" y="4699000"/>
            <a:ext cx="5314950" cy="4454525"/>
          </a:xfrm>
          <a:noFill/>
          <a:ln/>
        </p:spPr>
        <p:txBody>
          <a:bodyPr/>
          <a:lstStyle/>
          <a:p>
            <a:pPr eaLnBrk="1" hangingPunct="1"/>
            <a:r>
              <a:rPr lang="da-DK" smtClean="0">
                <a:solidFill>
                  <a:srgbClr val="000000"/>
                </a:solidFill>
                <a:sym typeface="Verdana" pitchFamily="34" charset="0"/>
              </a:rPr>
              <a:t>novo nordisk changing diabetes - Outro</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Alors que nous débutons cette séance, nous vous proposons de réfléchir à quelques questions. </a:t>
            </a:r>
            <a:r>
              <a:rPr lang="da-DK" i="1" smtClean="0">
                <a:solidFill>
                  <a:srgbClr val="000000"/>
                </a:solidFill>
                <a:sym typeface="Verdana" pitchFamily="34" charset="0"/>
              </a:rPr>
              <a:t>Présenter la liste des questions sur la diapositive. </a:t>
            </a:r>
            <a:r>
              <a:rPr lang="da-DK" smtClean="0">
                <a:solidFill>
                  <a:srgbClr val="000000"/>
                </a:solidFill>
                <a:sym typeface="Verdana" pitchFamily="34" charset="0"/>
              </a:rPr>
              <a:t>Veuillez noter que ces informations se trouvent dans la section 2 de votre manuel.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Pour pouvoir diagnostiquer le diabète chez l'enfant, vous devez savoir comment celui-ci développe la maladie, et quels symptômes (par ex. de quoi la famille se plaint) et signes physiques vous pourrez rencontrer en examinant l'enfant. Dans la mesure où l'ACD est fréquente chez les enfants atteints de diabète et qu'elle peut entraîner la mort, il est important de souligner le développement de cet état clinique.  </a:t>
            </a:r>
          </a:p>
        </p:txBody>
      </p:sp>
      <p:sp>
        <p:nvSpPr>
          <p:cNvPr id="28676" name="Slide Number Placeholder 3"/>
          <p:cNvSpPr>
            <a:spLocks noGrp="1"/>
          </p:cNvSpPr>
          <p:nvPr>
            <p:ph type="sldNum" sz="quarter" idx="5"/>
          </p:nvPr>
        </p:nvSpPr>
        <p:spPr/>
        <p:txBody>
          <a:bodyPr/>
          <a:lstStyle/>
          <a:p>
            <a:pPr eaLnBrk="0" hangingPunct="0">
              <a:buSzPct val="100000"/>
              <a:defRPr/>
            </a:pPr>
            <a:fld id="{DE40A1E4-E42F-4622-8105-5224AF0319C8}" type="slidenum">
              <a:rPr lang="da-DK" smtClean="0">
                <a:solidFill>
                  <a:srgbClr val="009FDA"/>
                </a:solidFill>
                <a:sym typeface="Verdana" pitchFamily="34" charset="0"/>
              </a:rPr>
              <a:pPr eaLnBrk="0" hangingPunct="0">
                <a:buSzPct val="100000"/>
                <a:defRPr/>
              </a:pPr>
              <a:t>4</a:t>
            </a:fld>
            <a:endParaRPr lang="da-DK" smtClean="0">
              <a:solidFill>
                <a:srgbClr val="009FDA"/>
              </a:solidFill>
              <a:sym typeface="Verdana"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 diabète est un groupe de différents troubles qui ont comme point commun des taux de glucose sanguin élevés pendant une longue période. Les différents types de diabète que vous rencontrerez ont tous en commun des taux de glucose sanguin élevés. Les enfants présentent souvent des symptômes pendant plusieurs semaines avant qu'un diagnostic ne soit posé.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Le glucose sanguin provient de notre alimentation. Tout aliment absorbé pour fournir de l'énergie est transformé en glucose dans le foie. Le glucose est également libéré des réserves présentes dans le foie, les muscles et les tissus graisseux lorsque l'organisme le demande. Le glucose du sang est de peu de valeur en soi. Il doit être transporté dans les cellules pour leur fournir de l'énergie et leur permettre de fonctionner. Le glucose est la source d'énergie principale des cellules de l'organisme.</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L'insuline est nécessaire pour transporter le glucose du sang jusqu'aux cellules.</a:t>
            </a:r>
          </a:p>
        </p:txBody>
      </p:sp>
      <p:sp>
        <p:nvSpPr>
          <p:cNvPr id="29700" name="Slide Number Placeholder 3"/>
          <p:cNvSpPr>
            <a:spLocks noGrp="1"/>
          </p:cNvSpPr>
          <p:nvPr>
            <p:ph type="sldNum" sz="quarter" idx="5"/>
          </p:nvPr>
        </p:nvSpPr>
        <p:spPr/>
        <p:txBody>
          <a:bodyPr/>
          <a:lstStyle/>
          <a:p>
            <a:pPr eaLnBrk="0" hangingPunct="0">
              <a:buSzPct val="100000"/>
              <a:defRPr/>
            </a:pPr>
            <a:fld id="{ED0D8906-DACE-4C8C-A5B4-FCD9FDBC354C}" type="slidenum">
              <a:rPr lang="da-DK" smtClean="0">
                <a:solidFill>
                  <a:srgbClr val="009FDA"/>
                </a:solidFill>
                <a:sym typeface="Verdana" pitchFamily="34" charset="0"/>
              </a:rPr>
              <a:pPr eaLnBrk="0" hangingPunct="0">
                <a:buSzPct val="100000"/>
                <a:defRPr/>
              </a:pPr>
              <a:t>5</a:t>
            </a:fld>
            <a:endParaRPr lang="da-DK" smtClean="0">
              <a:solidFill>
                <a:srgbClr val="009FDA"/>
              </a:solidFill>
              <a:sym typeface="Verdana"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insuline est une hormone sécrétée par le pancréas.  Une hormone est une protéine fabriquée par une partie de l'organisme, et qui influe sur le fonctionnement d'une autre partie de l'organisme. L'insuline est l'une des nombreuses hormones sécrétées par le corps humain.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Le pancréas est un organe plat en forme de feuille, situé derrière l'estomac. L'une de ses principales fonctions est de sécréter l'insuline. Ce sont les cellules bêta du pancréas qui sont responsables de cette fonction. D'autres types de cellules du pancréas sécrètent d'autres hormones.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Lorsque le pancréas ne fabrique pas suffisamment d'insuline pour couvrir les besoins, un diabète de type 1 se développe. C'est la forme la plus fréquente de diabète observée chez l'enfant et l'adolescent.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Le diabète de type 2 survient lorsque l'effet de l'insuline diminue à cause d'une insulinorésistance.</a:t>
            </a:r>
          </a:p>
        </p:txBody>
      </p:sp>
      <p:sp>
        <p:nvSpPr>
          <p:cNvPr id="30724" name="Slide Number Placeholder 3"/>
          <p:cNvSpPr>
            <a:spLocks noGrp="1"/>
          </p:cNvSpPr>
          <p:nvPr>
            <p:ph type="sldNum" sz="quarter" idx="5"/>
          </p:nvPr>
        </p:nvSpPr>
        <p:spPr/>
        <p:txBody>
          <a:bodyPr/>
          <a:lstStyle/>
          <a:p>
            <a:pPr eaLnBrk="0" hangingPunct="0">
              <a:buSzPct val="100000"/>
              <a:defRPr/>
            </a:pPr>
            <a:fld id="{4D690689-12BB-4A35-8BE8-F5DD1C260E1C}" type="slidenum">
              <a:rPr lang="da-DK" smtClean="0">
                <a:solidFill>
                  <a:srgbClr val="009FDA"/>
                </a:solidFill>
                <a:sym typeface="Verdana" pitchFamily="34" charset="0"/>
              </a:rPr>
              <a:pPr eaLnBrk="0" hangingPunct="0">
                <a:buSzPct val="100000"/>
                <a:defRPr/>
              </a:pPr>
              <a:t>6</a:t>
            </a:fld>
            <a:endParaRPr lang="da-DK" smtClean="0">
              <a:solidFill>
                <a:srgbClr val="009FDA"/>
              </a:solidFill>
              <a:sym typeface="Verdana"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ette diapositive est une représentation graphique du développement du diabète. Les aliments sont transformés en glucose et circulent dans le sang (représenté par un cylindre rouge). Le glucose n'est pas capable de pénétrer dans la cellule (représentée par un carré bleu) à cause de la barrière entre le sang et la cellule. </a:t>
            </a:r>
          </a:p>
        </p:txBody>
      </p:sp>
      <p:sp>
        <p:nvSpPr>
          <p:cNvPr id="31748" name="Slide Number Placeholder 3"/>
          <p:cNvSpPr>
            <a:spLocks noGrp="1"/>
          </p:cNvSpPr>
          <p:nvPr>
            <p:ph type="sldNum" sz="quarter" idx="5"/>
          </p:nvPr>
        </p:nvSpPr>
        <p:spPr/>
        <p:txBody>
          <a:bodyPr/>
          <a:lstStyle/>
          <a:p>
            <a:pPr eaLnBrk="0" hangingPunct="0">
              <a:buSzPct val="100000"/>
              <a:defRPr/>
            </a:pPr>
            <a:fld id="{3454D391-0A66-4951-8699-295BFD823331}" type="slidenum">
              <a:rPr lang="da-DK" smtClean="0">
                <a:solidFill>
                  <a:srgbClr val="009FDA"/>
                </a:solidFill>
                <a:sym typeface="Verdana" pitchFamily="34" charset="0"/>
              </a:rPr>
              <a:pPr eaLnBrk="0" hangingPunct="0">
                <a:buSzPct val="100000"/>
                <a:defRPr/>
              </a:pPr>
              <a:t>7</a:t>
            </a:fld>
            <a:endParaRPr lang="da-DK" smtClean="0">
              <a:solidFill>
                <a:srgbClr val="009FDA"/>
              </a:solidFill>
              <a:sym typeface="Verdana"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 pancréas sécrète l'insuline (représentée par les clés) et permet au glucose de pénétrer dans les cellules (comme une clé qui ouvre un verrou). Le glucose pénètre dans la cellule et lui fournit de l'énergie. La cellule reçoit l'énergie dont elle a besoin pour fonctionner, c'est maintenant une cellule heureuse.</a:t>
            </a:r>
          </a:p>
        </p:txBody>
      </p:sp>
      <p:sp>
        <p:nvSpPr>
          <p:cNvPr id="32772" name="Slide Number Placeholder 3"/>
          <p:cNvSpPr>
            <a:spLocks noGrp="1"/>
          </p:cNvSpPr>
          <p:nvPr>
            <p:ph type="sldNum" sz="quarter" idx="5"/>
          </p:nvPr>
        </p:nvSpPr>
        <p:spPr/>
        <p:txBody>
          <a:bodyPr/>
          <a:lstStyle/>
          <a:p>
            <a:pPr eaLnBrk="0" hangingPunct="0">
              <a:buSzPct val="100000"/>
              <a:defRPr/>
            </a:pPr>
            <a:fld id="{31E2149B-3CC8-4BDC-9E00-C209FA31F318}" type="slidenum">
              <a:rPr lang="da-DK" smtClean="0">
                <a:solidFill>
                  <a:srgbClr val="009FDA"/>
                </a:solidFill>
                <a:sym typeface="Verdana" pitchFamily="34" charset="0"/>
              </a:rPr>
              <a:pPr eaLnBrk="0" hangingPunct="0">
                <a:buSzPct val="100000"/>
                <a:defRPr/>
              </a:pPr>
              <a:t>8</a:t>
            </a:fld>
            <a:endParaRPr lang="da-DK" smtClean="0">
              <a:solidFill>
                <a:srgbClr val="009FDA"/>
              </a:solidFill>
              <a:sym typeface="Verdana"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a:ln/>
        </p:spPr>
      </p:sp>
      <p:sp>
        <p:nvSpPr>
          <p:cNvPr id="3686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Si le pancréas ne produit pas assez d'insuline, le glucose ne pourra pas pénétrer dans la cellule. Comme il n'a aucun autre endroit où aller, le glucose s'accumule dans le sang. Un taux de glucose sanguin élevé est alors mesuré au moment du diagnostic.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Il n'y a pas suffisamment d'énergie dans la cellule pour lui permettre de fonctionner correctement, et c'est pourquoi la cellule a l'air triste.  Lorsque cela arrive, la personne se sent fatiguée et léthargique. Ce symptôme est souvent mal interprété par la famille. </a:t>
            </a:r>
          </a:p>
        </p:txBody>
      </p:sp>
      <p:sp>
        <p:nvSpPr>
          <p:cNvPr id="33796" name="Slide Number Placeholder 3"/>
          <p:cNvSpPr>
            <a:spLocks noGrp="1"/>
          </p:cNvSpPr>
          <p:nvPr>
            <p:ph type="sldNum" sz="quarter" idx="5"/>
          </p:nvPr>
        </p:nvSpPr>
        <p:spPr/>
        <p:txBody>
          <a:bodyPr/>
          <a:lstStyle/>
          <a:p>
            <a:pPr eaLnBrk="0" hangingPunct="0">
              <a:buSzPct val="100000"/>
              <a:defRPr/>
            </a:pPr>
            <a:fld id="{5FD6B1B6-84A6-49DF-999C-B8F826EDE16F}" type="slidenum">
              <a:rPr lang="da-DK" smtClean="0">
                <a:solidFill>
                  <a:srgbClr val="009FDA"/>
                </a:solidFill>
                <a:sym typeface="Verdana" pitchFamily="34" charset="0"/>
              </a:rPr>
              <a:pPr eaLnBrk="0" hangingPunct="0">
                <a:buSzPct val="100000"/>
                <a:defRPr/>
              </a:pPr>
              <a:t>9</a:t>
            </a:fld>
            <a:endParaRPr lang="da-DK" smtClean="0">
              <a:solidFill>
                <a:srgbClr val="009FDA"/>
              </a:solidFill>
              <a:sym typeface="Verdana"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789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 sang (qui contient maintenant un taux de glucose élevé) circule à travers les reins. Le rôle des reins est de conserver les éléments du sang qui sont utiles (comme le glucose) et d'excréter les déchets dans l'urine. Cependant, lorsque le taux de glucose sanguin est élevé (généralement plus de 10 mmol/l), le glucose commence à être excrété dans l'urine. Lorsqu'une grande quantité de glucose est excrétée ainsi, il emporte avec lui de l'eau et des sels minéraux. Cette augmentation du volume d'urine produit des symptômes typiques de cet état : l'augmentation du besoin d'uriner durant la journée (polyurie) et pendant la nuit (nocturie). Chez les enfants plus grands, la nocturie apparaît souvent comme une incontinence nocturne après une période de propreté. Cette augmentation du volume urinaire provoque une déshydratation. Les signes de la déshydratation sont les mêmes que ceux d'une déshydratation ayant d'autres causes (enfoncement des yeux dans les orbites, bouche sèche, persistance du pli cutané et absence de larmes). Cette déshydratation amène l'enfant à boire davantage (polydypsie).</a:t>
            </a:r>
          </a:p>
        </p:txBody>
      </p:sp>
      <p:sp>
        <p:nvSpPr>
          <p:cNvPr id="34820" name="Slide Number Placeholder 3"/>
          <p:cNvSpPr>
            <a:spLocks noGrp="1"/>
          </p:cNvSpPr>
          <p:nvPr>
            <p:ph type="sldNum" sz="quarter" idx="5"/>
          </p:nvPr>
        </p:nvSpPr>
        <p:spPr/>
        <p:txBody>
          <a:bodyPr/>
          <a:lstStyle/>
          <a:p>
            <a:pPr eaLnBrk="0" hangingPunct="0">
              <a:buSzPct val="100000"/>
              <a:defRPr/>
            </a:pPr>
            <a:fld id="{81D7FE5E-C809-4DD4-BEC7-5C86C9CEF09D}" type="slidenum">
              <a:rPr lang="da-DK" smtClean="0">
                <a:solidFill>
                  <a:srgbClr val="009FDA"/>
                </a:solidFill>
                <a:sym typeface="Verdana" pitchFamily="34" charset="0"/>
              </a:rPr>
              <a:pPr eaLnBrk="0" hangingPunct="0">
                <a:buSzPct val="100000"/>
                <a:defRPr/>
              </a:pPr>
              <a:t>10</a:t>
            </a:fld>
            <a:endParaRPr lang="da-DK" smtClean="0">
              <a:solidFill>
                <a:srgbClr val="009FDA"/>
              </a:solidFill>
              <a:sym typeface="Verdana"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5" name="Rectangle 23"/>
          <p:cNvSpPr>
            <a:spLocks noGrp="1" noChangeArrowheads="1"/>
          </p:cNvSpPr>
          <p:nvPr>
            <p:ph type="sldNum" sz="quarter" idx="11"/>
          </p:nvPr>
        </p:nvSpPr>
        <p:spPr>
          <a:ln/>
        </p:spPr>
        <p:txBody>
          <a:bodyPr/>
          <a:lstStyle>
            <a:lvl1pPr>
              <a:defRPr/>
            </a:lvl1pPr>
          </a:lstStyle>
          <a:p>
            <a:pPr>
              <a:defRPr/>
            </a:pPr>
            <a:r>
              <a:rPr lang="en-GB"/>
              <a:t>Slide No </a:t>
            </a:r>
            <a:fld id="{B22CE4B1-A0D8-4B78-81FD-926E857171EA}" type="slidenum">
              <a:rPr lang="en-GB"/>
              <a:pPr>
                <a:defRPr/>
              </a:pPr>
              <a:t>‹N°›</a:t>
            </a:fld>
            <a:endParaRPr lang="en-GB"/>
          </a:p>
        </p:txBody>
      </p:sp>
      <p:sp>
        <p:nvSpPr>
          <p:cNvPr id="6" name="Rectangle 81"/>
          <p:cNvSpPr>
            <a:spLocks noGrp="1" noChangeArrowheads="1"/>
          </p:cNvSpPr>
          <p:nvPr>
            <p:ph type="dt" sz="half" idx="12"/>
          </p:nvPr>
        </p:nvSpPr>
        <p:spPr>
          <a:ln/>
        </p:spPr>
        <p:txBody>
          <a:bodyPr/>
          <a:lstStyle>
            <a:lvl1pPr>
              <a:defRPr/>
            </a:lvl1pPr>
          </a:lstStyle>
          <a:p>
            <a:pPr>
              <a:defRPr/>
            </a:pPr>
            <a:fld id="{899AE865-6991-4B15-A7B7-D99140AAFA19}" type="datetimeFigureOut">
              <a:rPr lang="da-DK"/>
              <a:pPr>
                <a:defRPr/>
              </a:pPr>
              <a:t>14-05-2011</a:t>
            </a:fld>
            <a:r>
              <a:rPr lang="en-GB"/>
              <a:t>Dat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5" name="Rectangle 23"/>
          <p:cNvSpPr>
            <a:spLocks noGrp="1" noChangeArrowheads="1"/>
          </p:cNvSpPr>
          <p:nvPr>
            <p:ph type="sldNum" sz="quarter" idx="11"/>
          </p:nvPr>
        </p:nvSpPr>
        <p:spPr>
          <a:ln/>
        </p:spPr>
        <p:txBody>
          <a:bodyPr/>
          <a:lstStyle>
            <a:lvl1pPr>
              <a:defRPr/>
            </a:lvl1pPr>
          </a:lstStyle>
          <a:p>
            <a:pPr>
              <a:defRPr/>
            </a:pPr>
            <a:r>
              <a:rPr lang="en-GB"/>
              <a:t>Slide No </a:t>
            </a:r>
            <a:fld id="{45023BE0-2EB7-472C-BCC2-E6B6C0EE45E3}" type="slidenum">
              <a:rPr lang="en-GB"/>
              <a:pPr>
                <a:defRPr/>
              </a:pPr>
              <a:t>‹N°›</a:t>
            </a:fld>
            <a:endParaRPr lang="en-GB"/>
          </a:p>
        </p:txBody>
      </p:sp>
      <p:sp>
        <p:nvSpPr>
          <p:cNvPr id="6" name="Rectangle 81"/>
          <p:cNvSpPr>
            <a:spLocks noGrp="1" noChangeArrowheads="1"/>
          </p:cNvSpPr>
          <p:nvPr>
            <p:ph type="dt" sz="half" idx="12"/>
          </p:nvPr>
        </p:nvSpPr>
        <p:spPr>
          <a:ln/>
        </p:spPr>
        <p:txBody>
          <a:bodyPr/>
          <a:lstStyle>
            <a:lvl1pPr>
              <a:defRPr/>
            </a:lvl1pPr>
          </a:lstStyle>
          <a:p>
            <a:pPr>
              <a:defRPr/>
            </a:pPr>
            <a:fld id="{7DF06D6A-23F9-404C-A16C-6736FA762EEE}" type="datetimeFigureOut">
              <a:rPr lang="da-DK"/>
              <a:pPr>
                <a:defRPr/>
              </a:pPr>
              <a:t>14-05-2011</a:t>
            </a:fld>
            <a:r>
              <a:rPr lang="en-GB"/>
              <a:t>Dat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18288" y="469900"/>
            <a:ext cx="2046287" cy="4884738"/>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76250" y="469900"/>
            <a:ext cx="5989638" cy="4884738"/>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5" name="Rectangle 23"/>
          <p:cNvSpPr>
            <a:spLocks noGrp="1" noChangeArrowheads="1"/>
          </p:cNvSpPr>
          <p:nvPr>
            <p:ph type="sldNum" sz="quarter" idx="11"/>
          </p:nvPr>
        </p:nvSpPr>
        <p:spPr>
          <a:ln/>
        </p:spPr>
        <p:txBody>
          <a:bodyPr/>
          <a:lstStyle>
            <a:lvl1pPr>
              <a:defRPr/>
            </a:lvl1pPr>
          </a:lstStyle>
          <a:p>
            <a:pPr>
              <a:defRPr/>
            </a:pPr>
            <a:r>
              <a:rPr lang="en-GB"/>
              <a:t>Slide No </a:t>
            </a:r>
            <a:fld id="{5616C556-52F1-4DD3-8355-C9FBE74FA2E2}" type="slidenum">
              <a:rPr lang="en-GB"/>
              <a:pPr>
                <a:defRPr/>
              </a:pPr>
              <a:t>‹N°›</a:t>
            </a:fld>
            <a:endParaRPr lang="en-GB"/>
          </a:p>
        </p:txBody>
      </p:sp>
      <p:sp>
        <p:nvSpPr>
          <p:cNvPr id="6" name="Rectangle 81"/>
          <p:cNvSpPr>
            <a:spLocks noGrp="1" noChangeArrowheads="1"/>
          </p:cNvSpPr>
          <p:nvPr>
            <p:ph type="dt" sz="half" idx="12"/>
          </p:nvPr>
        </p:nvSpPr>
        <p:spPr>
          <a:ln/>
        </p:spPr>
        <p:txBody>
          <a:bodyPr/>
          <a:lstStyle>
            <a:lvl1pPr>
              <a:defRPr/>
            </a:lvl1pPr>
          </a:lstStyle>
          <a:p>
            <a:pPr>
              <a:defRPr/>
            </a:pPr>
            <a:fld id="{9826248C-20B6-480B-9643-67946E971282}" type="datetimeFigureOut">
              <a:rPr lang="da-DK"/>
              <a:pPr>
                <a:defRPr/>
              </a:pPr>
              <a:t>14-05-2011</a:t>
            </a:fld>
            <a:r>
              <a:rPr lang="en-GB"/>
              <a:t>Dat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2E6E4C04-0A0C-411E-A960-560C14515113}"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E68BDFAB-1979-413D-A2E0-337BD5F7F1DB}" type="slidenum">
              <a:rPr lang="da-DK"/>
              <a:pPr>
                <a:defRPr/>
              </a:pPr>
              <a:t>‹N°›</a:t>
            </a:fld>
            <a:endParaRPr lang="da-DK"/>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5F7B76C3-DB92-4FAA-868A-32128C505504}"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155C6AFA-D452-44B0-B7D3-5BE9930CE2D0}" type="slidenum">
              <a:rPr lang="da-DK"/>
              <a:pPr>
                <a:defRPr/>
              </a:pPr>
              <a:t>‹N°›</a:t>
            </a:fld>
            <a:endParaRPr lang="da-DK"/>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fld id="{1EC0A9A2-EFD9-4830-8FF4-25656004CA76}"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462796ED-8612-4D8B-85AA-24D3E5570283}" type="slidenum">
              <a:rPr lang="da-DK"/>
              <a:pPr>
                <a:defRPr/>
              </a:pPr>
              <a:t>‹N°›</a:t>
            </a:fld>
            <a:endParaRPr lang="da-DK"/>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fld id="{90A937A6-3809-4065-96C2-6C72039413A1}" type="datetimeFigureOut">
              <a:rPr lang="da-DK"/>
              <a:pPr>
                <a:defRPr/>
              </a:pPr>
              <a:t>14-05-2011</a:t>
            </a:fld>
            <a:endParaRPr lang="da-DK"/>
          </a:p>
        </p:txBody>
      </p:sp>
      <p:sp>
        <p:nvSpPr>
          <p:cNvPr id="6" name="Rectangle 5"/>
          <p:cNvSpPr>
            <a:spLocks noGrp="1" noChangeArrowheads="1"/>
          </p:cNvSpPr>
          <p:nvPr>
            <p:ph type="ftr" sz="quarter" idx="11"/>
          </p:nvPr>
        </p:nvSpPr>
        <p:spPr>
          <a:ln/>
        </p:spPr>
        <p:txBody>
          <a:bodyPr/>
          <a:lstStyle>
            <a:lvl1pPr>
              <a:defRPr/>
            </a:lvl1pPr>
          </a:lstStyle>
          <a:p>
            <a:pPr>
              <a:defRPr/>
            </a:pPr>
            <a:endParaRPr lang="da-DK"/>
          </a:p>
        </p:txBody>
      </p:sp>
      <p:sp>
        <p:nvSpPr>
          <p:cNvPr id="7" name="Rectangle 6"/>
          <p:cNvSpPr>
            <a:spLocks noGrp="1" noChangeArrowheads="1"/>
          </p:cNvSpPr>
          <p:nvPr>
            <p:ph type="sldNum" sz="quarter" idx="12"/>
          </p:nvPr>
        </p:nvSpPr>
        <p:spPr>
          <a:ln/>
        </p:spPr>
        <p:txBody>
          <a:bodyPr/>
          <a:lstStyle>
            <a:lvl1pPr>
              <a:defRPr/>
            </a:lvl1pPr>
          </a:lstStyle>
          <a:p>
            <a:pPr>
              <a:defRPr/>
            </a:pPr>
            <a:fld id="{B2E69E73-9E37-4C4B-8418-8B2E1E80A129}" type="slidenum">
              <a:rPr lang="da-DK"/>
              <a:pPr>
                <a:defRPr/>
              </a:pPr>
              <a:t>‹N°›</a:t>
            </a:fld>
            <a:endParaRPr lang="da-DK"/>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fld id="{167C3BA4-1E48-4983-8513-F2DE57FAF655}" type="datetimeFigureOut">
              <a:rPr lang="da-DK"/>
              <a:pPr>
                <a:defRPr/>
              </a:pPr>
              <a:t>14-05-2011</a:t>
            </a:fld>
            <a:endParaRPr lang="da-DK"/>
          </a:p>
        </p:txBody>
      </p:sp>
      <p:sp>
        <p:nvSpPr>
          <p:cNvPr id="8" name="Rectangle 5"/>
          <p:cNvSpPr>
            <a:spLocks noGrp="1" noChangeArrowheads="1"/>
          </p:cNvSpPr>
          <p:nvPr>
            <p:ph type="ftr" sz="quarter" idx="11"/>
          </p:nvPr>
        </p:nvSpPr>
        <p:spPr>
          <a:ln/>
        </p:spPr>
        <p:txBody>
          <a:bodyPr/>
          <a:lstStyle>
            <a:lvl1pPr>
              <a:defRPr/>
            </a:lvl1pPr>
          </a:lstStyle>
          <a:p>
            <a:pPr>
              <a:defRPr/>
            </a:pPr>
            <a:endParaRPr lang="da-DK"/>
          </a:p>
        </p:txBody>
      </p:sp>
      <p:sp>
        <p:nvSpPr>
          <p:cNvPr id="9" name="Rectangle 6"/>
          <p:cNvSpPr>
            <a:spLocks noGrp="1" noChangeArrowheads="1"/>
          </p:cNvSpPr>
          <p:nvPr>
            <p:ph type="sldNum" sz="quarter" idx="12"/>
          </p:nvPr>
        </p:nvSpPr>
        <p:spPr>
          <a:ln/>
        </p:spPr>
        <p:txBody>
          <a:bodyPr/>
          <a:lstStyle>
            <a:lvl1pPr>
              <a:defRPr/>
            </a:lvl1pPr>
          </a:lstStyle>
          <a:p>
            <a:pPr>
              <a:defRPr/>
            </a:pPr>
            <a:fld id="{E304B9B3-1E65-4485-812D-DEC26A20C756}" type="slidenum">
              <a:rPr lang="da-DK"/>
              <a:pPr>
                <a:defRPr/>
              </a:pPr>
              <a:t>‹N°›</a:t>
            </a:fld>
            <a:endParaRPr lang="da-DK"/>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fld id="{5FA2EADC-154E-4A8F-A148-FD7CBB7015D0}" type="datetimeFigureOut">
              <a:rPr lang="da-DK"/>
              <a:pPr>
                <a:defRPr/>
              </a:pPr>
              <a:t>14-05-2011</a:t>
            </a:fld>
            <a:endParaRPr lang="da-DK"/>
          </a:p>
        </p:txBody>
      </p:sp>
      <p:sp>
        <p:nvSpPr>
          <p:cNvPr id="4" name="Rectangle 5"/>
          <p:cNvSpPr>
            <a:spLocks noGrp="1" noChangeArrowheads="1"/>
          </p:cNvSpPr>
          <p:nvPr>
            <p:ph type="ftr" sz="quarter" idx="11"/>
          </p:nvPr>
        </p:nvSpPr>
        <p:spPr>
          <a:ln/>
        </p:spPr>
        <p:txBody>
          <a:bodyPr/>
          <a:lstStyle>
            <a:lvl1pPr>
              <a:defRPr/>
            </a:lvl1pPr>
          </a:lstStyle>
          <a:p>
            <a:pPr>
              <a:defRPr/>
            </a:pPr>
            <a:endParaRPr lang="da-DK"/>
          </a:p>
        </p:txBody>
      </p:sp>
      <p:sp>
        <p:nvSpPr>
          <p:cNvPr id="5" name="Rectangle 6"/>
          <p:cNvSpPr>
            <a:spLocks noGrp="1" noChangeArrowheads="1"/>
          </p:cNvSpPr>
          <p:nvPr>
            <p:ph type="sldNum" sz="quarter" idx="12"/>
          </p:nvPr>
        </p:nvSpPr>
        <p:spPr>
          <a:ln/>
        </p:spPr>
        <p:txBody>
          <a:bodyPr/>
          <a:lstStyle>
            <a:lvl1pPr>
              <a:defRPr/>
            </a:lvl1pPr>
          </a:lstStyle>
          <a:p>
            <a:pPr>
              <a:defRPr/>
            </a:pPr>
            <a:fld id="{0E58FDFE-204D-4106-BE5F-5E72D12ACF52}" type="slidenum">
              <a:rPr lang="da-DK"/>
              <a:pPr>
                <a:defRPr/>
              </a:pPr>
              <a:t>‹N°›</a:t>
            </a:fld>
            <a:endParaRPr lang="da-DK"/>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D6314F9B-2EE2-4D5D-835D-EB329D2A9E14}" type="datetimeFigureOut">
              <a:rPr lang="da-DK"/>
              <a:pPr>
                <a:defRPr/>
              </a:pPr>
              <a:t>14-05-2011</a:t>
            </a:fld>
            <a:endParaRPr lang="da-DK"/>
          </a:p>
        </p:txBody>
      </p:sp>
      <p:sp>
        <p:nvSpPr>
          <p:cNvPr id="3" name="Rectangle 5"/>
          <p:cNvSpPr>
            <a:spLocks noGrp="1" noChangeArrowheads="1"/>
          </p:cNvSpPr>
          <p:nvPr>
            <p:ph type="ftr" sz="quarter" idx="11"/>
          </p:nvPr>
        </p:nvSpPr>
        <p:spPr>
          <a:ln/>
        </p:spPr>
        <p:txBody>
          <a:bodyPr/>
          <a:lstStyle>
            <a:lvl1pPr>
              <a:defRPr/>
            </a:lvl1pPr>
          </a:lstStyle>
          <a:p>
            <a:pPr>
              <a:defRPr/>
            </a:pPr>
            <a:endParaRPr lang="da-DK"/>
          </a:p>
        </p:txBody>
      </p:sp>
      <p:sp>
        <p:nvSpPr>
          <p:cNvPr id="4" name="Rectangle 6"/>
          <p:cNvSpPr>
            <a:spLocks noGrp="1" noChangeArrowheads="1"/>
          </p:cNvSpPr>
          <p:nvPr>
            <p:ph type="sldNum" sz="quarter" idx="12"/>
          </p:nvPr>
        </p:nvSpPr>
        <p:spPr>
          <a:ln/>
        </p:spPr>
        <p:txBody>
          <a:bodyPr/>
          <a:lstStyle>
            <a:lvl1pPr>
              <a:defRPr/>
            </a:lvl1pPr>
          </a:lstStyle>
          <a:p>
            <a:pPr>
              <a:defRPr/>
            </a:pPr>
            <a:fld id="{5CABC714-293F-429B-AAD0-CCC6A6C712E8}" type="slidenum">
              <a:rPr lang="da-DK"/>
              <a:pPr>
                <a:defRPr/>
              </a:pPr>
              <a:t>‹N°›</a:t>
            </a:fld>
            <a:endParaRPr lang="da-DK"/>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fld id="{ADB23DA1-F153-4182-9CAF-340F07C892FF}" type="datetimeFigureOut">
              <a:rPr lang="da-DK"/>
              <a:pPr>
                <a:defRPr/>
              </a:pPr>
              <a:t>14-05-2011</a:t>
            </a:fld>
            <a:endParaRPr lang="da-DK"/>
          </a:p>
        </p:txBody>
      </p:sp>
      <p:sp>
        <p:nvSpPr>
          <p:cNvPr id="6" name="Rectangle 5"/>
          <p:cNvSpPr>
            <a:spLocks noGrp="1" noChangeArrowheads="1"/>
          </p:cNvSpPr>
          <p:nvPr>
            <p:ph type="ftr" sz="quarter" idx="11"/>
          </p:nvPr>
        </p:nvSpPr>
        <p:spPr>
          <a:ln/>
        </p:spPr>
        <p:txBody>
          <a:bodyPr/>
          <a:lstStyle>
            <a:lvl1pPr>
              <a:defRPr/>
            </a:lvl1pPr>
          </a:lstStyle>
          <a:p>
            <a:pPr>
              <a:defRPr/>
            </a:pPr>
            <a:endParaRPr lang="da-DK"/>
          </a:p>
        </p:txBody>
      </p:sp>
      <p:sp>
        <p:nvSpPr>
          <p:cNvPr id="7" name="Rectangle 6"/>
          <p:cNvSpPr>
            <a:spLocks noGrp="1" noChangeArrowheads="1"/>
          </p:cNvSpPr>
          <p:nvPr>
            <p:ph type="sldNum" sz="quarter" idx="12"/>
          </p:nvPr>
        </p:nvSpPr>
        <p:spPr>
          <a:ln/>
        </p:spPr>
        <p:txBody>
          <a:bodyPr/>
          <a:lstStyle>
            <a:lvl1pPr>
              <a:defRPr/>
            </a:lvl1pPr>
          </a:lstStyle>
          <a:p>
            <a:pPr>
              <a:defRPr/>
            </a:pPr>
            <a:fld id="{211BA6F9-A896-499D-9D0F-E362CE1DEFCA}" type="slidenum">
              <a:rPr lang="da-DK"/>
              <a:pPr>
                <a:defRPr/>
              </a:pPr>
              <a:t>‹N°›</a:t>
            </a:fld>
            <a:endParaRPr lang="da-DK"/>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5" name="Rectangle 23"/>
          <p:cNvSpPr>
            <a:spLocks noGrp="1" noChangeArrowheads="1"/>
          </p:cNvSpPr>
          <p:nvPr>
            <p:ph type="sldNum" sz="quarter" idx="11"/>
          </p:nvPr>
        </p:nvSpPr>
        <p:spPr>
          <a:ln/>
        </p:spPr>
        <p:txBody>
          <a:bodyPr/>
          <a:lstStyle>
            <a:lvl1pPr>
              <a:defRPr/>
            </a:lvl1pPr>
          </a:lstStyle>
          <a:p>
            <a:pPr>
              <a:defRPr/>
            </a:pPr>
            <a:r>
              <a:rPr lang="en-GB"/>
              <a:t>Slide No </a:t>
            </a:r>
            <a:fld id="{6EEE2C15-3199-4A3A-B591-A1A5BC4A6947}" type="slidenum">
              <a:rPr lang="en-GB"/>
              <a:pPr>
                <a:defRPr/>
              </a:pPr>
              <a:t>‹N°›</a:t>
            </a:fld>
            <a:endParaRPr lang="en-GB"/>
          </a:p>
        </p:txBody>
      </p:sp>
      <p:sp>
        <p:nvSpPr>
          <p:cNvPr id="6" name="Rectangle 81"/>
          <p:cNvSpPr>
            <a:spLocks noGrp="1" noChangeArrowheads="1"/>
          </p:cNvSpPr>
          <p:nvPr>
            <p:ph type="dt" sz="half" idx="12"/>
          </p:nvPr>
        </p:nvSpPr>
        <p:spPr>
          <a:ln/>
        </p:spPr>
        <p:txBody>
          <a:bodyPr/>
          <a:lstStyle>
            <a:lvl1pPr>
              <a:defRPr/>
            </a:lvl1pPr>
          </a:lstStyle>
          <a:p>
            <a:pPr>
              <a:defRPr/>
            </a:pPr>
            <a:fld id="{EEC9D325-B8A0-4260-BEDE-6B1E9942A74A}" type="datetimeFigureOut">
              <a:rPr lang="da-DK"/>
              <a:pPr>
                <a:defRPr/>
              </a:pPr>
              <a:t>14-05-2011</a:t>
            </a:fld>
            <a:r>
              <a:rPr lang="en-GB"/>
              <a:t>Dat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fld id="{3B88E8FC-7A77-4CF4-914B-A21FED2D349E}" type="datetimeFigureOut">
              <a:rPr lang="da-DK"/>
              <a:pPr>
                <a:defRPr/>
              </a:pPr>
              <a:t>14-05-2011</a:t>
            </a:fld>
            <a:endParaRPr lang="da-DK"/>
          </a:p>
        </p:txBody>
      </p:sp>
      <p:sp>
        <p:nvSpPr>
          <p:cNvPr id="6" name="Rectangle 5"/>
          <p:cNvSpPr>
            <a:spLocks noGrp="1" noChangeArrowheads="1"/>
          </p:cNvSpPr>
          <p:nvPr>
            <p:ph type="ftr" sz="quarter" idx="11"/>
          </p:nvPr>
        </p:nvSpPr>
        <p:spPr>
          <a:ln/>
        </p:spPr>
        <p:txBody>
          <a:bodyPr/>
          <a:lstStyle>
            <a:lvl1pPr>
              <a:defRPr/>
            </a:lvl1pPr>
          </a:lstStyle>
          <a:p>
            <a:pPr>
              <a:defRPr/>
            </a:pPr>
            <a:endParaRPr lang="da-DK"/>
          </a:p>
        </p:txBody>
      </p:sp>
      <p:sp>
        <p:nvSpPr>
          <p:cNvPr id="7" name="Rectangle 6"/>
          <p:cNvSpPr>
            <a:spLocks noGrp="1" noChangeArrowheads="1"/>
          </p:cNvSpPr>
          <p:nvPr>
            <p:ph type="sldNum" sz="quarter" idx="12"/>
          </p:nvPr>
        </p:nvSpPr>
        <p:spPr>
          <a:ln/>
        </p:spPr>
        <p:txBody>
          <a:bodyPr/>
          <a:lstStyle>
            <a:lvl1pPr>
              <a:defRPr/>
            </a:lvl1pPr>
          </a:lstStyle>
          <a:p>
            <a:pPr>
              <a:defRPr/>
            </a:pPr>
            <a:fld id="{A00FCB7C-A795-44B6-83EA-1B4AD555529A}" type="slidenum">
              <a:rPr lang="da-DK"/>
              <a:pPr>
                <a:defRPr/>
              </a:pPr>
              <a:t>‹N°›</a:t>
            </a:fld>
            <a:endParaRPr lang="da-DK"/>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BAC846F6-C924-44C4-81D2-D99126F98473}"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1988C302-4E9F-4C6B-B338-FC896A145EDB}" type="slidenum">
              <a:rPr lang="da-DK"/>
              <a:pPr>
                <a:defRPr/>
              </a:pPr>
              <a:t>‹N°›</a:t>
            </a:fld>
            <a:endParaRPr lang="da-DK"/>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63F130E5-7000-41C1-BF12-BC5219486176}"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09BA5832-E3F8-4820-B13C-38FA8F89BBE5}" type="slidenum">
              <a:rPr lang="da-DK"/>
              <a:pPr>
                <a:defRPr/>
              </a:pPr>
              <a:t>‹N°›</a:t>
            </a:fld>
            <a:endParaRPr lang="da-DK"/>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5" name="Rectangle 23"/>
          <p:cNvSpPr>
            <a:spLocks noGrp="1" noChangeArrowheads="1"/>
          </p:cNvSpPr>
          <p:nvPr>
            <p:ph type="sldNum" sz="quarter" idx="11"/>
          </p:nvPr>
        </p:nvSpPr>
        <p:spPr>
          <a:ln/>
        </p:spPr>
        <p:txBody>
          <a:bodyPr/>
          <a:lstStyle>
            <a:lvl1pPr>
              <a:defRPr/>
            </a:lvl1pPr>
          </a:lstStyle>
          <a:p>
            <a:pPr>
              <a:defRPr/>
            </a:pPr>
            <a:r>
              <a:rPr lang="en-GB"/>
              <a:t>Slide No </a:t>
            </a:r>
            <a:fld id="{FEB4E0E9-8FE3-4A4C-9F3A-1B852112703F}" type="slidenum">
              <a:rPr lang="en-GB"/>
              <a:pPr>
                <a:defRPr/>
              </a:pPr>
              <a:t>‹N°›</a:t>
            </a:fld>
            <a:endParaRPr lang="en-GB"/>
          </a:p>
        </p:txBody>
      </p:sp>
      <p:sp>
        <p:nvSpPr>
          <p:cNvPr id="6" name="Rectangle 81"/>
          <p:cNvSpPr>
            <a:spLocks noGrp="1" noChangeArrowheads="1"/>
          </p:cNvSpPr>
          <p:nvPr>
            <p:ph type="dt" sz="half" idx="12"/>
          </p:nvPr>
        </p:nvSpPr>
        <p:spPr>
          <a:ln/>
        </p:spPr>
        <p:txBody>
          <a:bodyPr/>
          <a:lstStyle>
            <a:lvl1pPr>
              <a:defRPr/>
            </a:lvl1pPr>
          </a:lstStyle>
          <a:p>
            <a:pPr>
              <a:defRPr/>
            </a:pPr>
            <a:fld id="{AB95A372-233F-46A8-B32B-A8C5A004C76A}" type="datetimeFigureOut">
              <a:rPr lang="da-DK"/>
              <a:pPr>
                <a:defRPr/>
              </a:pPr>
              <a:t>14-05-2011</a:t>
            </a:fld>
            <a:r>
              <a:rPr lang="en-GB"/>
              <a:t>Dat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76250" y="1625600"/>
            <a:ext cx="4016375" cy="37290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5025" y="1625600"/>
            <a:ext cx="4017963" cy="37290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6" name="Rectangle 23"/>
          <p:cNvSpPr>
            <a:spLocks noGrp="1" noChangeArrowheads="1"/>
          </p:cNvSpPr>
          <p:nvPr>
            <p:ph type="sldNum" sz="quarter" idx="11"/>
          </p:nvPr>
        </p:nvSpPr>
        <p:spPr>
          <a:ln/>
        </p:spPr>
        <p:txBody>
          <a:bodyPr/>
          <a:lstStyle>
            <a:lvl1pPr>
              <a:defRPr/>
            </a:lvl1pPr>
          </a:lstStyle>
          <a:p>
            <a:pPr>
              <a:defRPr/>
            </a:pPr>
            <a:r>
              <a:rPr lang="en-GB"/>
              <a:t>Slide No </a:t>
            </a:r>
            <a:fld id="{C328E46D-18CB-48AE-A7A3-23F0DD41CC01}" type="slidenum">
              <a:rPr lang="en-GB"/>
              <a:pPr>
                <a:defRPr/>
              </a:pPr>
              <a:t>‹N°›</a:t>
            </a:fld>
            <a:endParaRPr lang="en-GB"/>
          </a:p>
        </p:txBody>
      </p:sp>
      <p:sp>
        <p:nvSpPr>
          <p:cNvPr id="7" name="Rectangle 81"/>
          <p:cNvSpPr>
            <a:spLocks noGrp="1" noChangeArrowheads="1"/>
          </p:cNvSpPr>
          <p:nvPr>
            <p:ph type="dt" sz="half" idx="12"/>
          </p:nvPr>
        </p:nvSpPr>
        <p:spPr>
          <a:ln/>
        </p:spPr>
        <p:txBody>
          <a:bodyPr/>
          <a:lstStyle>
            <a:lvl1pPr>
              <a:defRPr/>
            </a:lvl1pPr>
          </a:lstStyle>
          <a:p>
            <a:pPr>
              <a:defRPr/>
            </a:pPr>
            <a:fld id="{16EE337C-AE8B-4C57-9F31-63F37E6F31CE}" type="datetimeFigureOut">
              <a:rPr lang="da-DK"/>
              <a:pPr>
                <a:defRPr/>
              </a:pPr>
              <a:t>14-05-2011</a:t>
            </a:fld>
            <a:r>
              <a:rPr lang="en-GB"/>
              <a:t>Dat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8" name="Rectangle 23"/>
          <p:cNvSpPr>
            <a:spLocks noGrp="1" noChangeArrowheads="1"/>
          </p:cNvSpPr>
          <p:nvPr>
            <p:ph type="sldNum" sz="quarter" idx="11"/>
          </p:nvPr>
        </p:nvSpPr>
        <p:spPr>
          <a:ln/>
        </p:spPr>
        <p:txBody>
          <a:bodyPr/>
          <a:lstStyle>
            <a:lvl1pPr>
              <a:defRPr/>
            </a:lvl1pPr>
          </a:lstStyle>
          <a:p>
            <a:pPr>
              <a:defRPr/>
            </a:pPr>
            <a:r>
              <a:rPr lang="en-GB"/>
              <a:t>Slide No </a:t>
            </a:r>
            <a:fld id="{CA7FDE1B-0FCA-49EF-99F2-158FCEE7136B}" type="slidenum">
              <a:rPr lang="en-GB"/>
              <a:pPr>
                <a:defRPr/>
              </a:pPr>
              <a:t>‹N°›</a:t>
            </a:fld>
            <a:endParaRPr lang="en-GB"/>
          </a:p>
        </p:txBody>
      </p:sp>
      <p:sp>
        <p:nvSpPr>
          <p:cNvPr id="9" name="Rectangle 81"/>
          <p:cNvSpPr>
            <a:spLocks noGrp="1" noChangeArrowheads="1"/>
          </p:cNvSpPr>
          <p:nvPr>
            <p:ph type="dt" sz="half" idx="12"/>
          </p:nvPr>
        </p:nvSpPr>
        <p:spPr>
          <a:ln/>
        </p:spPr>
        <p:txBody>
          <a:bodyPr/>
          <a:lstStyle>
            <a:lvl1pPr>
              <a:defRPr/>
            </a:lvl1pPr>
          </a:lstStyle>
          <a:p>
            <a:pPr>
              <a:defRPr/>
            </a:pPr>
            <a:fld id="{6B00CB44-6A93-4AB3-BC72-9A66BBA93C03}" type="datetimeFigureOut">
              <a:rPr lang="da-DK"/>
              <a:pPr>
                <a:defRPr/>
              </a:pPr>
              <a:t>14-05-2011</a:t>
            </a:fld>
            <a:r>
              <a:rPr lang="en-GB"/>
              <a:t>Dat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4" name="Rectangle 23"/>
          <p:cNvSpPr>
            <a:spLocks noGrp="1" noChangeArrowheads="1"/>
          </p:cNvSpPr>
          <p:nvPr>
            <p:ph type="sldNum" sz="quarter" idx="11"/>
          </p:nvPr>
        </p:nvSpPr>
        <p:spPr>
          <a:ln/>
        </p:spPr>
        <p:txBody>
          <a:bodyPr/>
          <a:lstStyle>
            <a:lvl1pPr>
              <a:defRPr/>
            </a:lvl1pPr>
          </a:lstStyle>
          <a:p>
            <a:pPr>
              <a:defRPr/>
            </a:pPr>
            <a:r>
              <a:rPr lang="en-GB"/>
              <a:t>Slide No </a:t>
            </a:r>
            <a:fld id="{FC064D9B-6E7B-48C0-BCF2-3E087FE5E597}" type="slidenum">
              <a:rPr lang="en-GB"/>
              <a:pPr>
                <a:defRPr/>
              </a:pPr>
              <a:t>‹N°›</a:t>
            </a:fld>
            <a:endParaRPr lang="en-GB"/>
          </a:p>
        </p:txBody>
      </p:sp>
      <p:sp>
        <p:nvSpPr>
          <p:cNvPr id="5" name="Rectangle 81"/>
          <p:cNvSpPr>
            <a:spLocks noGrp="1" noChangeArrowheads="1"/>
          </p:cNvSpPr>
          <p:nvPr>
            <p:ph type="dt" sz="half" idx="12"/>
          </p:nvPr>
        </p:nvSpPr>
        <p:spPr>
          <a:ln/>
        </p:spPr>
        <p:txBody>
          <a:bodyPr/>
          <a:lstStyle>
            <a:lvl1pPr>
              <a:defRPr/>
            </a:lvl1pPr>
          </a:lstStyle>
          <a:p>
            <a:pPr>
              <a:defRPr/>
            </a:pPr>
            <a:fld id="{D5C2A5F1-0DCC-4AEF-9C56-86A232409A44}" type="datetimeFigureOut">
              <a:rPr lang="da-DK"/>
              <a:pPr>
                <a:defRPr/>
              </a:pPr>
              <a:t>14-05-2011</a:t>
            </a:fld>
            <a:r>
              <a:rPr lang="en-GB"/>
              <a:t>Dat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3" name="Rectangle 23"/>
          <p:cNvSpPr>
            <a:spLocks noGrp="1" noChangeArrowheads="1"/>
          </p:cNvSpPr>
          <p:nvPr>
            <p:ph type="sldNum" sz="quarter" idx="11"/>
          </p:nvPr>
        </p:nvSpPr>
        <p:spPr>
          <a:ln/>
        </p:spPr>
        <p:txBody>
          <a:bodyPr/>
          <a:lstStyle>
            <a:lvl1pPr>
              <a:defRPr/>
            </a:lvl1pPr>
          </a:lstStyle>
          <a:p>
            <a:pPr>
              <a:defRPr/>
            </a:pPr>
            <a:r>
              <a:rPr lang="en-GB"/>
              <a:t>Slide No </a:t>
            </a:r>
            <a:fld id="{40DA2552-DC86-43F4-9FD4-E961FBFF4639}" type="slidenum">
              <a:rPr lang="en-GB"/>
              <a:pPr>
                <a:defRPr/>
              </a:pPr>
              <a:t>‹N°›</a:t>
            </a:fld>
            <a:endParaRPr lang="en-GB"/>
          </a:p>
        </p:txBody>
      </p:sp>
      <p:sp>
        <p:nvSpPr>
          <p:cNvPr id="4" name="Rectangle 81"/>
          <p:cNvSpPr>
            <a:spLocks noGrp="1" noChangeArrowheads="1"/>
          </p:cNvSpPr>
          <p:nvPr>
            <p:ph type="dt" sz="half" idx="12"/>
          </p:nvPr>
        </p:nvSpPr>
        <p:spPr>
          <a:ln/>
        </p:spPr>
        <p:txBody>
          <a:bodyPr/>
          <a:lstStyle>
            <a:lvl1pPr>
              <a:defRPr/>
            </a:lvl1pPr>
          </a:lstStyle>
          <a:p>
            <a:pPr>
              <a:defRPr/>
            </a:pPr>
            <a:fld id="{74DEDCD5-F92B-48CA-9FCD-AD1459B17390}" type="datetimeFigureOut">
              <a:rPr lang="da-DK"/>
              <a:pPr>
                <a:defRPr/>
              </a:pPr>
              <a:t>14-05-2011</a:t>
            </a:fld>
            <a:r>
              <a:rPr lang="en-GB"/>
              <a:t>Dat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6" name="Rectangle 23"/>
          <p:cNvSpPr>
            <a:spLocks noGrp="1" noChangeArrowheads="1"/>
          </p:cNvSpPr>
          <p:nvPr>
            <p:ph type="sldNum" sz="quarter" idx="11"/>
          </p:nvPr>
        </p:nvSpPr>
        <p:spPr>
          <a:ln/>
        </p:spPr>
        <p:txBody>
          <a:bodyPr/>
          <a:lstStyle>
            <a:lvl1pPr>
              <a:defRPr/>
            </a:lvl1pPr>
          </a:lstStyle>
          <a:p>
            <a:pPr>
              <a:defRPr/>
            </a:pPr>
            <a:r>
              <a:rPr lang="en-GB"/>
              <a:t>Slide No </a:t>
            </a:r>
            <a:fld id="{6FF5F4AB-966A-4D15-BABD-978A24D8473F}" type="slidenum">
              <a:rPr lang="en-GB"/>
              <a:pPr>
                <a:defRPr/>
              </a:pPr>
              <a:t>‹N°›</a:t>
            </a:fld>
            <a:endParaRPr lang="en-GB"/>
          </a:p>
        </p:txBody>
      </p:sp>
      <p:sp>
        <p:nvSpPr>
          <p:cNvPr id="7" name="Rectangle 81"/>
          <p:cNvSpPr>
            <a:spLocks noGrp="1" noChangeArrowheads="1"/>
          </p:cNvSpPr>
          <p:nvPr>
            <p:ph type="dt" sz="half" idx="12"/>
          </p:nvPr>
        </p:nvSpPr>
        <p:spPr>
          <a:ln/>
        </p:spPr>
        <p:txBody>
          <a:bodyPr/>
          <a:lstStyle>
            <a:lvl1pPr>
              <a:defRPr/>
            </a:lvl1pPr>
          </a:lstStyle>
          <a:p>
            <a:pPr>
              <a:defRPr/>
            </a:pPr>
            <a:fld id="{A12705D7-8483-4962-BD31-2963E5C01C24}" type="datetimeFigureOut">
              <a:rPr lang="da-DK"/>
              <a:pPr>
                <a:defRPr/>
              </a:pPr>
              <a:t>14-05-2011</a:t>
            </a:fld>
            <a:r>
              <a:rPr lang="en-GB"/>
              <a:t>Dat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6" name="Rectangle 23"/>
          <p:cNvSpPr>
            <a:spLocks noGrp="1" noChangeArrowheads="1"/>
          </p:cNvSpPr>
          <p:nvPr>
            <p:ph type="sldNum" sz="quarter" idx="11"/>
          </p:nvPr>
        </p:nvSpPr>
        <p:spPr>
          <a:ln/>
        </p:spPr>
        <p:txBody>
          <a:bodyPr/>
          <a:lstStyle>
            <a:lvl1pPr>
              <a:defRPr/>
            </a:lvl1pPr>
          </a:lstStyle>
          <a:p>
            <a:pPr>
              <a:defRPr/>
            </a:pPr>
            <a:r>
              <a:rPr lang="en-GB"/>
              <a:t>Slide No </a:t>
            </a:r>
            <a:fld id="{00E9C2D8-8312-47D9-9F87-3C9F338DDE86}" type="slidenum">
              <a:rPr lang="en-GB"/>
              <a:pPr>
                <a:defRPr/>
              </a:pPr>
              <a:t>‹N°›</a:t>
            </a:fld>
            <a:endParaRPr lang="en-GB"/>
          </a:p>
        </p:txBody>
      </p:sp>
      <p:sp>
        <p:nvSpPr>
          <p:cNvPr id="7" name="Rectangle 81"/>
          <p:cNvSpPr>
            <a:spLocks noGrp="1" noChangeArrowheads="1"/>
          </p:cNvSpPr>
          <p:nvPr>
            <p:ph type="dt" sz="half" idx="12"/>
          </p:nvPr>
        </p:nvSpPr>
        <p:spPr>
          <a:ln/>
        </p:spPr>
        <p:txBody>
          <a:bodyPr/>
          <a:lstStyle>
            <a:lvl1pPr>
              <a:defRPr/>
            </a:lvl1pPr>
          </a:lstStyle>
          <a:p>
            <a:pPr>
              <a:defRPr/>
            </a:pPr>
            <a:fld id="{178B0B4D-BFE3-4507-BB3B-CC67B48F03AC}" type="datetimeFigureOut">
              <a:rPr lang="da-DK"/>
              <a:pPr>
                <a:defRPr/>
              </a:pPr>
              <a:t>14-05-2011</a:t>
            </a:fld>
            <a:r>
              <a:rPr lang="en-GB"/>
              <a:t>Dat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18"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60" name="Freeform 36"/>
          <p:cNvSpPr>
            <a:spLocks/>
          </p:cNvSpPr>
          <p:nvPr/>
        </p:nvSpPr>
        <p:spPr bwMode="auto">
          <a:xfrm>
            <a:off x="0" y="1460500"/>
            <a:ext cx="8832850" cy="4049713"/>
          </a:xfrm>
          <a:custGeom>
            <a:avLst/>
            <a:gdLst/>
            <a:ahLst/>
            <a:cxnLst>
              <a:cxn ang="0">
                <a:pos x="11838" y="0"/>
              </a:cxn>
              <a:cxn ang="0">
                <a:pos x="12019" y="182"/>
              </a:cxn>
              <a:cxn ang="0">
                <a:pos x="12019" y="182"/>
              </a:cxn>
              <a:cxn ang="0">
                <a:pos x="12019" y="182"/>
              </a:cxn>
              <a:cxn ang="0">
                <a:pos x="12019" y="5503"/>
              </a:cxn>
              <a:cxn ang="0">
                <a:pos x="11838" y="5685"/>
              </a:cxn>
              <a:cxn ang="0">
                <a:pos x="11838" y="5685"/>
              </a:cxn>
              <a:cxn ang="0">
                <a:pos x="0" y="5685"/>
              </a:cxn>
              <a:cxn ang="0">
                <a:pos x="0" y="0"/>
              </a:cxn>
              <a:cxn ang="0">
                <a:pos x="11838" y="0"/>
              </a:cxn>
            </a:cxnLst>
            <a:rect l="0" t="0" r="r" b="b"/>
            <a:pathLst>
              <a:path w="12019" h="5685">
                <a:moveTo>
                  <a:pt x="11838" y="0"/>
                </a:moveTo>
                <a:cubicBezTo>
                  <a:pt x="11938" y="0"/>
                  <a:pt x="12019" y="81"/>
                  <a:pt x="12019" y="182"/>
                </a:cubicBezTo>
                <a:cubicBezTo>
                  <a:pt x="12019" y="182"/>
                  <a:pt x="12019" y="182"/>
                  <a:pt x="12019" y="182"/>
                </a:cubicBezTo>
                <a:lnTo>
                  <a:pt x="12019" y="182"/>
                </a:lnTo>
                <a:lnTo>
                  <a:pt x="12019" y="5503"/>
                </a:lnTo>
                <a:cubicBezTo>
                  <a:pt x="12019" y="5603"/>
                  <a:pt x="11938" y="5685"/>
                  <a:pt x="11838" y="5685"/>
                </a:cubicBezTo>
                <a:lnTo>
                  <a:pt x="11838" y="5685"/>
                </a:lnTo>
                <a:lnTo>
                  <a:pt x="0" y="5685"/>
                </a:lnTo>
                <a:lnTo>
                  <a:pt x="0" y="0"/>
                </a:lnTo>
                <a:lnTo>
                  <a:pt x="11838" y="0"/>
                </a:lnTo>
                <a:close/>
              </a:path>
            </a:pathLst>
          </a:custGeom>
          <a:noFill/>
          <a:ln w="3175" cap="rnd" cmpd="sng">
            <a:noFill/>
            <a:prstDash val="solid"/>
            <a:round/>
            <a:headEnd/>
            <a:tailEnd/>
          </a:ln>
        </p:spPr>
        <p:txBody>
          <a:bodyPr/>
          <a:lstStyle/>
          <a:p>
            <a:pPr>
              <a:defRPr/>
            </a:pPr>
            <a:endParaRPr lang="en-ZA">
              <a:cs typeface="+mn-cs"/>
            </a:endParaRPr>
          </a:p>
        </p:txBody>
      </p:sp>
      <p:sp>
        <p:nvSpPr>
          <p:cNvPr id="1027" name="Rectangle 2"/>
          <p:cNvSpPr>
            <a:spLocks noGrp="1" noChangeArrowheads="1"/>
          </p:cNvSpPr>
          <p:nvPr>
            <p:ph type="title"/>
          </p:nvPr>
        </p:nvSpPr>
        <p:spPr bwMode="auto">
          <a:xfrm>
            <a:off x="476250" y="469900"/>
            <a:ext cx="8188325" cy="8016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smtClean="0"/>
              <a:t>Click to edit Master title style</a:t>
            </a:r>
          </a:p>
        </p:txBody>
      </p:sp>
      <p:sp>
        <p:nvSpPr>
          <p:cNvPr id="1028" name="Rectangle 3"/>
          <p:cNvSpPr>
            <a:spLocks noGrp="1" noChangeArrowheads="1"/>
          </p:cNvSpPr>
          <p:nvPr>
            <p:ph type="body" idx="1"/>
          </p:nvPr>
        </p:nvSpPr>
        <p:spPr bwMode="auto">
          <a:xfrm>
            <a:off x="476250" y="1625600"/>
            <a:ext cx="8186738" cy="37290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9" name="Rectangle 5"/>
          <p:cNvSpPr>
            <a:spLocks noGrp="1" noChangeArrowheads="1"/>
          </p:cNvSpPr>
          <p:nvPr>
            <p:ph type="ftr" sz="quarter" idx="3"/>
          </p:nvPr>
        </p:nvSpPr>
        <p:spPr bwMode="auto">
          <a:xfrm>
            <a:off x="469900" y="0"/>
            <a:ext cx="5843588" cy="47148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defRPr sz="800" b="0">
                <a:solidFill>
                  <a:schemeClr val="folHlink"/>
                </a:solidFill>
                <a:cs typeface="+mn-cs"/>
              </a:defRPr>
            </a:lvl1pPr>
          </a:lstStyle>
          <a:p>
            <a:pPr>
              <a:defRPr/>
            </a:pPr>
            <a:r>
              <a:rPr lang="en-GB"/>
              <a:t>Presentation title</a:t>
            </a:r>
          </a:p>
        </p:txBody>
      </p:sp>
      <p:sp>
        <p:nvSpPr>
          <p:cNvPr id="1047" name="Rectangle 23"/>
          <p:cNvSpPr>
            <a:spLocks noGrp="1" noChangeArrowheads="1"/>
          </p:cNvSpPr>
          <p:nvPr>
            <p:ph type="sldNum" sz="quarter" idx="4"/>
          </p:nvPr>
        </p:nvSpPr>
        <p:spPr bwMode="auto">
          <a:xfrm>
            <a:off x="7761288" y="0"/>
            <a:ext cx="901700" cy="47148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800" b="0">
                <a:solidFill>
                  <a:schemeClr val="hlink"/>
                </a:solidFill>
                <a:cs typeface="+mn-cs"/>
              </a:defRPr>
            </a:lvl1pPr>
          </a:lstStyle>
          <a:p>
            <a:pPr>
              <a:defRPr/>
            </a:pPr>
            <a:r>
              <a:rPr lang="en-GB"/>
              <a:t>Slide No </a:t>
            </a:r>
            <a:fld id="{5A90EEFF-E9DF-4293-8E0B-5A35D7398309}" type="slidenum">
              <a:rPr lang="en-GB"/>
              <a:pPr>
                <a:defRPr/>
              </a:pPr>
              <a:t>‹N°›</a:t>
            </a:fld>
            <a:endParaRPr lang="en-GB"/>
          </a:p>
        </p:txBody>
      </p:sp>
      <p:sp>
        <p:nvSpPr>
          <p:cNvPr id="1105" name="Rectangle 81"/>
          <p:cNvSpPr>
            <a:spLocks noGrp="1" noChangeArrowheads="1"/>
          </p:cNvSpPr>
          <p:nvPr>
            <p:ph type="dt" sz="half" idx="2"/>
          </p:nvPr>
        </p:nvSpPr>
        <p:spPr bwMode="auto">
          <a:xfrm>
            <a:off x="6299200" y="0"/>
            <a:ext cx="1460500" cy="47148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defRPr sz="800" b="0">
                <a:solidFill>
                  <a:schemeClr val="folHlink"/>
                </a:solidFill>
                <a:cs typeface="+mn-cs"/>
              </a:defRPr>
            </a:lvl1pPr>
          </a:lstStyle>
          <a:p>
            <a:pPr>
              <a:defRPr/>
            </a:pPr>
            <a:fld id="{25985922-2149-464B-AD2D-AE578BF14347}" type="datetimeFigureOut">
              <a:rPr lang="da-DK"/>
              <a:pPr>
                <a:defRPr/>
              </a:pPr>
              <a:t>14-05-2011</a:t>
            </a:fld>
            <a:r>
              <a:rPr lang="en-GB"/>
              <a:t>Date</a:t>
            </a:r>
          </a:p>
        </p:txBody>
      </p:sp>
      <p:pic>
        <p:nvPicPr>
          <p:cNvPr id="1032" name="Picture 46" descr="NN_m_2c_RGB"/>
          <p:cNvPicPr>
            <a:picLocks noChangeAspect="1" noChangeArrowheads="1"/>
          </p:cNvPicPr>
          <p:nvPr userDrawn="1"/>
        </p:nvPicPr>
        <p:blipFill>
          <a:blip r:embed="rId13" cstate="print"/>
          <a:srcRect/>
          <a:stretch>
            <a:fillRect/>
          </a:stretch>
        </p:blipFill>
        <p:spPr bwMode="auto">
          <a:xfrm>
            <a:off x="7807325" y="5692775"/>
            <a:ext cx="1012825" cy="835025"/>
          </a:xfrm>
          <a:prstGeom prst="rect">
            <a:avLst/>
          </a:prstGeom>
          <a:noFill/>
          <a:ln w="9525">
            <a:noFill/>
            <a:miter lim="800000"/>
            <a:headEnd/>
            <a:tailEnd/>
          </a:ln>
        </p:spPr>
      </p:pic>
      <p:pic>
        <p:nvPicPr>
          <p:cNvPr id="1033" name="Picture 8" descr="CD_Stacked_BIG®_RGB"/>
          <p:cNvPicPr>
            <a:picLocks noChangeAspect="1" noChangeArrowheads="1"/>
          </p:cNvPicPr>
          <p:nvPr userDrawn="1"/>
        </p:nvPicPr>
        <p:blipFill>
          <a:blip r:embed="rId14"/>
          <a:srcRect/>
          <a:stretch>
            <a:fillRect/>
          </a:stretch>
        </p:blipFill>
        <p:spPr bwMode="auto">
          <a:xfrm>
            <a:off x="468313" y="6145213"/>
            <a:ext cx="608012" cy="236537"/>
          </a:xfrm>
          <a:prstGeom prst="rect">
            <a:avLst/>
          </a:prstGeom>
          <a:noFill/>
          <a:ln w="9525">
            <a:noFill/>
            <a:miter lim="800000"/>
            <a:headEnd/>
            <a:tailEnd/>
          </a:ln>
        </p:spPr>
      </p:pic>
      <p:pic>
        <p:nvPicPr>
          <p:cNvPr id="1034" name="Billede 11" descr="WDFLogo_Colour.gif"/>
          <p:cNvPicPr>
            <a:picLocks noChangeAspect="1"/>
          </p:cNvPicPr>
          <p:nvPr userDrawn="1"/>
        </p:nvPicPr>
        <p:blipFill>
          <a:blip r:embed="rId15"/>
          <a:srcRect/>
          <a:stretch>
            <a:fillRect/>
          </a:stretch>
        </p:blipFill>
        <p:spPr bwMode="auto">
          <a:xfrm>
            <a:off x="6343650" y="5886450"/>
            <a:ext cx="1079500" cy="471488"/>
          </a:xfrm>
          <a:prstGeom prst="rect">
            <a:avLst/>
          </a:prstGeom>
          <a:noFill/>
          <a:ln w="9525">
            <a:noFill/>
            <a:miter lim="800000"/>
            <a:headEnd/>
            <a:tailEnd/>
          </a:ln>
        </p:spPr>
      </p:pic>
      <p:pic>
        <p:nvPicPr>
          <p:cNvPr id="1035" name="Billede 12" descr="roclogo_rgb_72_36.gif"/>
          <p:cNvPicPr>
            <a:picLocks noChangeAspect="1"/>
          </p:cNvPicPr>
          <p:nvPr userDrawn="1"/>
        </p:nvPicPr>
        <p:blipFill>
          <a:blip r:embed="rId16"/>
          <a:srcRect/>
          <a:stretch>
            <a:fillRect/>
          </a:stretch>
        </p:blipFill>
        <p:spPr bwMode="auto">
          <a:xfrm>
            <a:off x="5062538" y="6034088"/>
            <a:ext cx="666750" cy="342900"/>
          </a:xfrm>
          <a:prstGeom prst="rect">
            <a:avLst/>
          </a:prstGeom>
          <a:noFill/>
          <a:ln w="9525">
            <a:noFill/>
            <a:miter lim="800000"/>
            <a:headEnd/>
            <a:tailEnd/>
          </a:ln>
        </p:spPr>
      </p:pic>
      <p:pic>
        <p:nvPicPr>
          <p:cNvPr id="1036" name="Picture 13" descr="Orig_ISPAD-Logo_SR%20Kopie"/>
          <p:cNvPicPr>
            <a:picLocks noChangeAspect="1" noChangeArrowheads="1"/>
          </p:cNvPicPr>
          <p:nvPr userDrawn="1"/>
        </p:nvPicPr>
        <p:blipFill>
          <a:blip r:embed="rId17"/>
          <a:srcRect/>
          <a:stretch>
            <a:fillRect/>
          </a:stretch>
        </p:blipFill>
        <p:spPr bwMode="auto">
          <a:xfrm>
            <a:off x="3413125" y="5956300"/>
            <a:ext cx="1081088" cy="425450"/>
          </a:xfrm>
          <a:prstGeom prst="rect">
            <a:avLst/>
          </a:prstGeom>
          <a:noFill/>
          <a:ln w="9525">
            <a:noFill/>
            <a:miter lim="800000"/>
            <a:headEnd/>
            <a:tailEnd/>
          </a:ln>
        </p:spPr>
      </p:pic>
      <p:pic>
        <p:nvPicPr>
          <p:cNvPr id="1037" name="Picture 18" descr="Insulution_Logo_Orange"/>
          <p:cNvPicPr>
            <a:picLocks noChangeAspect="1" noChangeArrowheads="1"/>
          </p:cNvPicPr>
          <p:nvPr userDrawn="1"/>
        </p:nvPicPr>
        <p:blipFill>
          <a:blip r:embed="rId18"/>
          <a:srcRect/>
          <a:stretch>
            <a:fillRect/>
          </a:stretch>
        </p:blipFill>
        <p:spPr bwMode="auto">
          <a:xfrm>
            <a:off x="1620838" y="6156325"/>
            <a:ext cx="1096962" cy="215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30" r:id="rId1"/>
    <p:sldLayoutId id="2147483729" r:id="rId2"/>
    <p:sldLayoutId id="2147483728" r:id="rId3"/>
    <p:sldLayoutId id="2147483727" r:id="rId4"/>
    <p:sldLayoutId id="2147483726" r:id="rId5"/>
    <p:sldLayoutId id="2147483725" r:id="rId6"/>
    <p:sldLayoutId id="2147483724" r:id="rId7"/>
    <p:sldLayoutId id="2147483723" r:id="rId8"/>
    <p:sldLayoutId id="2147483722" r:id="rId9"/>
    <p:sldLayoutId id="2147483721" r:id="rId10"/>
    <p:sldLayoutId id="2147483720" r:id="rId11"/>
  </p:sldLayoutIdLst>
  <p:timing>
    <p:tnLst>
      <p:par>
        <p:cTn id="1" dur="indefinite" restart="never" nodeType="tmRoot"/>
      </p:par>
    </p:tnLst>
  </p:timing>
  <p:hf hdr="0" ftr="0" dt="0"/>
  <p:txStyles>
    <p:titleStyle>
      <a:lvl1pPr algn="l" rtl="0" eaLnBrk="0" fontAlgn="base" hangingPunct="0">
        <a:spcBef>
          <a:spcPct val="0"/>
        </a:spcBef>
        <a:spcAft>
          <a:spcPct val="0"/>
        </a:spcAft>
        <a:defRPr sz="2800" b="1">
          <a:solidFill>
            <a:srgbClr val="001965"/>
          </a:solidFill>
          <a:latin typeface="+mj-lt"/>
          <a:ea typeface="+mj-ea"/>
          <a:cs typeface="+mj-cs"/>
        </a:defRPr>
      </a:lvl1pPr>
      <a:lvl2pPr algn="l" rtl="0" eaLnBrk="0" fontAlgn="base" hangingPunct="0">
        <a:spcBef>
          <a:spcPct val="0"/>
        </a:spcBef>
        <a:spcAft>
          <a:spcPct val="0"/>
        </a:spcAft>
        <a:defRPr sz="2800" b="1">
          <a:solidFill>
            <a:srgbClr val="001965"/>
          </a:solidFill>
          <a:latin typeface="Verdana" pitchFamily="34" charset="0"/>
        </a:defRPr>
      </a:lvl2pPr>
      <a:lvl3pPr algn="l" rtl="0" eaLnBrk="0" fontAlgn="base" hangingPunct="0">
        <a:spcBef>
          <a:spcPct val="0"/>
        </a:spcBef>
        <a:spcAft>
          <a:spcPct val="0"/>
        </a:spcAft>
        <a:defRPr sz="2800" b="1">
          <a:solidFill>
            <a:srgbClr val="001965"/>
          </a:solidFill>
          <a:latin typeface="Verdana" pitchFamily="34" charset="0"/>
        </a:defRPr>
      </a:lvl3pPr>
      <a:lvl4pPr algn="l" rtl="0" eaLnBrk="0" fontAlgn="base" hangingPunct="0">
        <a:spcBef>
          <a:spcPct val="0"/>
        </a:spcBef>
        <a:spcAft>
          <a:spcPct val="0"/>
        </a:spcAft>
        <a:defRPr sz="2800" b="1">
          <a:solidFill>
            <a:srgbClr val="001965"/>
          </a:solidFill>
          <a:latin typeface="Verdana" pitchFamily="34" charset="0"/>
        </a:defRPr>
      </a:lvl4pPr>
      <a:lvl5pPr algn="l" rtl="0" eaLnBrk="0" fontAlgn="base" hangingPunct="0">
        <a:spcBef>
          <a:spcPct val="0"/>
        </a:spcBef>
        <a:spcAft>
          <a:spcPct val="0"/>
        </a:spcAft>
        <a:defRPr sz="2800" b="1">
          <a:solidFill>
            <a:srgbClr val="001965"/>
          </a:solidFill>
          <a:latin typeface="Verdana" pitchFamily="34" charset="0"/>
        </a:defRPr>
      </a:lvl5pPr>
      <a:lvl6pPr marL="457200" algn="l" rtl="0" fontAlgn="base">
        <a:spcBef>
          <a:spcPct val="0"/>
        </a:spcBef>
        <a:spcAft>
          <a:spcPct val="0"/>
        </a:spcAft>
        <a:defRPr sz="2800" b="1">
          <a:solidFill>
            <a:srgbClr val="001965"/>
          </a:solidFill>
          <a:latin typeface="Verdana" pitchFamily="34" charset="0"/>
        </a:defRPr>
      </a:lvl6pPr>
      <a:lvl7pPr marL="914400" algn="l" rtl="0" fontAlgn="base">
        <a:spcBef>
          <a:spcPct val="0"/>
        </a:spcBef>
        <a:spcAft>
          <a:spcPct val="0"/>
        </a:spcAft>
        <a:defRPr sz="2800" b="1">
          <a:solidFill>
            <a:srgbClr val="001965"/>
          </a:solidFill>
          <a:latin typeface="Verdana" pitchFamily="34" charset="0"/>
        </a:defRPr>
      </a:lvl7pPr>
      <a:lvl8pPr marL="1371600" algn="l" rtl="0" fontAlgn="base">
        <a:spcBef>
          <a:spcPct val="0"/>
        </a:spcBef>
        <a:spcAft>
          <a:spcPct val="0"/>
        </a:spcAft>
        <a:defRPr sz="2800" b="1">
          <a:solidFill>
            <a:srgbClr val="001965"/>
          </a:solidFill>
          <a:latin typeface="Verdana" pitchFamily="34" charset="0"/>
        </a:defRPr>
      </a:lvl8pPr>
      <a:lvl9pPr marL="1828800" algn="l" rtl="0" fontAlgn="base">
        <a:spcBef>
          <a:spcPct val="0"/>
        </a:spcBef>
        <a:spcAft>
          <a:spcPct val="0"/>
        </a:spcAft>
        <a:defRPr sz="2800" b="1">
          <a:solidFill>
            <a:srgbClr val="001965"/>
          </a:solidFill>
          <a:latin typeface="Verdana" pitchFamily="34" charset="0"/>
        </a:defRPr>
      </a:lvl9pPr>
    </p:titleStyle>
    <p:bodyStyle>
      <a:lvl1pPr marL="263525" indent="-263525" algn="l" rtl="0" eaLnBrk="0" fontAlgn="base" hangingPunct="0">
        <a:spcBef>
          <a:spcPct val="20000"/>
        </a:spcBef>
        <a:spcAft>
          <a:spcPct val="0"/>
        </a:spcAft>
        <a:buClr>
          <a:schemeClr val="accent1"/>
        </a:buClr>
        <a:buChar char="•"/>
        <a:defRPr sz="2200">
          <a:solidFill>
            <a:schemeClr val="accent2"/>
          </a:solidFill>
          <a:latin typeface="+mn-lt"/>
          <a:ea typeface="+mn-ea"/>
          <a:cs typeface="+mn-cs"/>
        </a:defRPr>
      </a:lvl1pPr>
      <a:lvl2pPr marL="803275" indent="-263525" algn="l" rtl="0" eaLnBrk="0" fontAlgn="base" hangingPunct="0">
        <a:spcBef>
          <a:spcPct val="20000"/>
        </a:spcBef>
        <a:spcAft>
          <a:spcPct val="0"/>
        </a:spcAft>
        <a:buClr>
          <a:srgbClr val="001965"/>
        </a:buClr>
        <a:buChar char="•"/>
        <a:defRPr sz="2000">
          <a:solidFill>
            <a:schemeClr val="accent2"/>
          </a:solidFill>
          <a:latin typeface="+mn-lt"/>
        </a:defRPr>
      </a:lvl2pPr>
      <a:lvl3pPr marL="1344613" indent="-268288" algn="l" rtl="0" eaLnBrk="0" fontAlgn="base" hangingPunct="0">
        <a:spcBef>
          <a:spcPct val="20000"/>
        </a:spcBef>
        <a:spcAft>
          <a:spcPct val="0"/>
        </a:spcAft>
        <a:buClr>
          <a:srgbClr val="82786F"/>
        </a:buClr>
        <a:buChar char="•"/>
        <a:defRPr>
          <a:solidFill>
            <a:schemeClr val="accent2"/>
          </a:solidFill>
          <a:latin typeface="+mn-lt"/>
        </a:defRPr>
      </a:lvl3pPr>
      <a:lvl4pPr marL="1884363" indent="-263525" algn="l" rtl="0" eaLnBrk="0" fontAlgn="base" hangingPunct="0">
        <a:spcBef>
          <a:spcPct val="20000"/>
        </a:spcBef>
        <a:spcAft>
          <a:spcPct val="0"/>
        </a:spcAft>
        <a:buClr>
          <a:srgbClr val="E64A0E"/>
        </a:buClr>
        <a:buChar char="•"/>
        <a:defRPr sz="1600">
          <a:solidFill>
            <a:schemeClr val="accent2"/>
          </a:solidFill>
          <a:latin typeface="+mn-lt"/>
        </a:defRPr>
      </a:lvl4pPr>
      <a:lvl5pPr marL="2424113" indent="-277813" algn="l" rtl="0" eaLnBrk="0" fontAlgn="base" hangingPunct="0">
        <a:spcBef>
          <a:spcPct val="20000"/>
        </a:spcBef>
        <a:spcAft>
          <a:spcPct val="0"/>
        </a:spcAft>
        <a:buClr>
          <a:srgbClr val="000000"/>
        </a:buClr>
        <a:buChar char="•"/>
        <a:defRPr sz="1400">
          <a:solidFill>
            <a:schemeClr val="accent2"/>
          </a:solidFill>
          <a:latin typeface="+mn-lt"/>
        </a:defRPr>
      </a:lvl5pPr>
      <a:lvl6pPr marL="2881313" indent="-277813" algn="l" rtl="0" fontAlgn="base">
        <a:spcBef>
          <a:spcPct val="20000"/>
        </a:spcBef>
        <a:spcAft>
          <a:spcPct val="0"/>
        </a:spcAft>
        <a:buClr>
          <a:srgbClr val="000000"/>
        </a:buClr>
        <a:buChar char="•"/>
        <a:defRPr sz="1400">
          <a:solidFill>
            <a:schemeClr val="accent2"/>
          </a:solidFill>
          <a:latin typeface="+mn-lt"/>
        </a:defRPr>
      </a:lvl6pPr>
      <a:lvl7pPr marL="3338513" indent="-277813" algn="l" rtl="0" fontAlgn="base">
        <a:spcBef>
          <a:spcPct val="20000"/>
        </a:spcBef>
        <a:spcAft>
          <a:spcPct val="0"/>
        </a:spcAft>
        <a:buClr>
          <a:srgbClr val="000000"/>
        </a:buClr>
        <a:buChar char="•"/>
        <a:defRPr sz="1400">
          <a:solidFill>
            <a:schemeClr val="accent2"/>
          </a:solidFill>
          <a:latin typeface="+mn-lt"/>
        </a:defRPr>
      </a:lvl7pPr>
      <a:lvl8pPr marL="3795713" indent="-277813" algn="l" rtl="0" fontAlgn="base">
        <a:spcBef>
          <a:spcPct val="20000"/>
        </a:spcBef>
        <a:spcAft>
          <a:spcPct val="0"/>
        </a:spcAft>
        <a:buClr>
          <a:srgbClr val="000000"/>
        </a:buClr>
        <a:buChar char="•"/>
        <a:defRPr sz="1400">
          <a:solidFill>
            <a:schemeClr val="accent2"/>
          </a:solidFill>
          <a:latin typeface="+mn-lt"/>
        </a:defRPr>
      </a:lvl8pPr>
      <a:lvl9pPr marL="4252913" indent="-277813" algn="l" rtl="0" fontAlgn="base">
        <a:spcBef>
          <a:spcPct val="20000"/>
        </a:spcBef>
        <a:spcAft>
          <a:spcPct val="0"/>
        </a:spcAft>
        <a:buClr>
          <a:srgbClr val="000000"/>
        </a:buClr>
        <a:buChar char="•"/>
        <a:defRPr sz="1400">
          <a:solidFill>
            <a:schemeClr val="accent2"/>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a-DK" smtClean="0"/>
              <a:t>Click to edit Master title style</a:t>
            </a:r>
          </a:p>
        </p:txBody>
      </p:sp>
      <p:sp>
        <p:nvSpPr>
          <p:cNvPr id="2051"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p>
        </p:txBody>
      </p:sp>
      <p:sp>
        <p:nvSpPr>
          <p:cNvPr id="6349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smtClean="0">
                <a:cs typeface="Arial" pitchFamily="34" charset="0"/>
              </a:defRPr>
            </a:lvl1pPr>
          </a:lstStyle>
          <a:p>
            <a:pPr>
              <a:defRPr/>
            </a:pPr>
            <a:fld id="{62D0E574-9F6F-4339-9F4A-E45DC00A3442}" type="datetimeFigureOut">
              <a:rPr lang="da-DK"/>
              <a:pPr>
                <a:defRPr/>
              </a:pPr>
              <a:t>14-05-2011</a:t>
            </a:fld>
            <a:endParaRPr lang="da-DK"/>
          </a:p>
        </p:txBody>
      </p:sp>
      <p:sp>
        <p:nvSpPr>
          <p:cNvPr id="6349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smtClean="0">
                <a:cs typeface="Arial" pitchFamily="34" charset="0"/>
              </a:defRPr>
            </a:lvl1pPr>
          </a:lstStyle>
          <a:p>
            <a:pPr>
              <a:defRPr/>
            </a:pPr>
            <a:endParaRPr lang="da-DK"/>
          </a:p>
        </p:txBody>
      </p:sp>
      <p:sp>
        <p:nvSpPr>
          <p:cNvPr id="6349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smtClean="0">
                <a:cs typeface="Arial" pitchFamily="34" charset="0"/>
              </a:defRPr>
            </a:lvl1pPr>
          </a:lstStyle>
          <a:p>
            <a:pPr>
              <a:defRPr/>
            </a:pPr>
            <a:fld id="{FB050FBD-8D84-41DA-B083-0476D2280FA8}" type="slidenum">
              <a:rPr lang="da-DK"/>
              <a:pPr>
                <a:defRPr/>
              </a:pPr>
              <a:t>‹N°›</a:t>
            </a:fld>
            <a:endParaRPr lang="da-DK"/>
          </a:p>
        </p:txBody>
      </p:sp>
    </p:spTree>
  </p:cSld>
  <p:clrMap bg1="lt1" tx1="dk1" bg2="lt2" tx2="dk2" accent1="accent1" accent2="accent2" accent3="accent3" accent4="accent4" accent5="accent5" accent6="accent6" hlink="hlink" folHlink="folHlink"/>
  <p:sldLayoutIdLst>
    <p:sldLayoutId id="2147483741" r:id="rId1"/>
    <p:sldLayoutId id="2147483740" r:id="rId2"/>
    <p:sldLayoutId id="2147483739" r:id="rId3"/>
    <p:sldLayoutId id="2147483738" r:id="rId4"/>
    <p:sldLayoutId id="2147483737" r:id="rId5"/>
    <p:sldLayoutId id="2147483736" r:id="rId6"/>
    <p:sldLayoutId id="2147483735" r:id="rId7"/>
    <p:sldLayoutId id="2147483734" r:id="rId8"/>
    <p:sldLayoutId id="2147483733" r:id="rId9"/>
    <p:sldLayoutId id="2147483732" r:id="rId10"/>
    <p:sldLayoutId id="2147483731"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7.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11.jpeg"/><Relationship Id="rId5" Type="http://schemas.openxmlformats.org/officeDocument/2006/relationships/image" Target="../media/image18.jpeg"/><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11.jpeg"/><Relationship Id="rId4" Type="http://schemas.openxmlformats.org/officeDocument/2006/relationships/image" Target="../media/image17.jpeg"/></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1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21.jpeg"/></Relationships>
</file>

<file path=ppt/slides/_rels/slide1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11.jpeg"/><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4.jpe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1.jpeg"/><Relationship Id="rId4" Type="http://schemas.openxmlformats.org/officeDocument/2006/relationships/image" Target="../media/image17.jpe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11.jpeg"/><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98" name="Rectangle 4"/>
          <p:cNvSpPr>
            <a:spLocks noGrp="1" noChangeArrowheads="1"/>
          </p:cNvSpPr>
          <p:nvPr>
            <p:ph type="ftr" sz="quarter" idx="10"/>
          </p:nvPr>
        </p:nvSpPr>
        <p:spPr>
          <a:xfrm>
            <a:off x="395288" y="0"/>
            <a:ext cx="6519862" cy="620713"/>
          </a:xfrm>
        </p:spPr>
        <p:txBody>
          <a:bodyPr anchor="b"/>
          <a:lstStyle/>
          <a:p>
            <a:pPr eaLnBrk="0" hangingPunct="0">
              <a:buSzPct val="100000"/>
              <a:defRPr/>
            </a:pPr>
            <a:r>
              <a:rPr lang="da-DK" smtClean="0">
                <a:solidFill>
                  <a:srgbClr val="FFFFFF"/>
                </a:solidFill>
                <a:sym typeface="Verdana" pitchFamily="34" charset="0"/>
              </a:rPr>
              <a:t>Presentation title</a:t>
            </a:r>
          </a:p>
        </p:txBody>
      </p:sp>
      <p:sp>
        <p:nvSpPr>
          <p:cNvPr id="3075" name="Rectangle 2"/>
          <p:cNvSpPr>
            <a:spLocks noGrp="1" noChangeArrowheads="1"/>
          </p:cNvSpPr>
          <p:nvPr>
            <p:ph type="ctrTitle" idx="4294967295"/>
          </p:nvPr>
        </p:nvSpPr>
        <p:spPr>
          <a:xfrm>
            <a:off x="4572000" y="2708275"/>
            <a:ext cx="4316413" cy="2019300"/>
          </a:xfrm>
        </p:spPr>
        <p:txBody>
          <a:bodyPr anchor="b"/>
          <a:lstStyle/>
          <a:p>
            <a:pPr algn="r" eaLnBrk="1" hangingPunct="1">
              <a:lnSpc>
                <a:spcPct val="85000"/>
              </a:lnSpc>
            </a:pPr>
            <a:r>
              <a:rPr lang="da-DK" sz="3200" smtClean="0">
                <a:sym typeface="Verdana" pitchFamily="34" charset="0"/>
              </a:rPr>
              <a:t>Diagnostiquer le diabète chez l'enfant</a:t>
            </a:r>
          </a:p>
        </p:txBody>
      </p:sp>
      <p:pic>
        <p:nvPicPr>
          <p:cNvPr id="3076" name="Picture 7" descr="cdic.jpg"/>
          <p:cNvPicPr>
            <a:picLocks noChangeAspect="1"/>
          </p:cNvPicPr>
          <p:nvPr>
            <p:custDataLst>
              <p:tags r:id="rId1"/>
            </p:custDataLst>
          </p:nvPr>
        </p:nvPicPr>
        <p:blipFill>
          <a:blip r:embed="rId5"/>
          <a:srcRect/>
          <a:stretch>
            <a:fillRect/>
          </a:stretch>
        </p:blipFill>
        <p:spPr bwMode="auto">
          <a:xfrm>
            <a:off x="5003800" y="188913"/>
            <a:ext cx="2314575" cy="1227137"/>
          </a:xfrm>
          <a:prstGeom prst="rect">
            <a:avLst/>
          </a:prstGeom>
          <a:noFill/>
          <a:ln w="9525">
            <a:noFill/>
            <a:miter lim="800000"/>
            <a:headEnd/>
            <a:tailEnd/>
          </a:ln>
        </p:spPr>
      </p:pic>
      <p:pic>
        <p:nvPicPr>
          <p:cNvPr id="3077" name="Picture 9" descr="JRE-NOVONORDISK-CDIC-UG ETH DRC-20100902-201009021124 (Large)"/>
          <p:cNvPicPr>
            <a:picLocks noChangeAspect="1" noChangeArrowheads="1"/>
          </p:cNvPicPr>
          <p:nvPr/>
        </p:nvPicPr>
        <p:blipFill>
          <a:blip r:embed="rId6"/>
          <a:srcRect l="30612" r="25194"/>
          <a:stretch>
            <a:fillRect/>
          </a:stretch>
        </p:blipFill>
        <p:spPr bwMode="auto">
          <a:xfrm>
            <a:off x="0" y="-25400"/>
            <a:ext cx="4572000" cy="6883400"/>
          </a:xfrm>
          <a:prstGeom prst="rect">
            <a:avLst/>
          </a:prstGeom>
          <a:noFill/>
          <a:ln w="9525">
            <a:noFill/>
            <a:miter lim="800000"/>
            <a:headEnd/>
            <a:tailEnd/>
          </a:ln>
        </p:spPr>
      </p:pic>
      <p:pic>
        <p:nvPicPr>
          <p:cNvPr id="3078" name="Picture 7" descr="CD_Stacked_BIG®_RGB"/>
          <p:cNvPicPr>
            <a:picLocks noChangeAspect="1" noChangeArrowheads="1"/>
          </p:cNvPicPr>
          <p:nvPr>
            <p:custDataLst>
              <p:tags r:id="rId2"/>
            </p:custDataLst>
          </p:nvPr>
        </p:nvPicPr>
        <p:blipFill>
          <a:blip r:embed="rId7"/>
          <a:srcRect/>
          <a:stretch>
            <a:fillRect/>
          </a:stretch>
        </p:blipFill>
        <p:spPr bwMode="auto">
          <a:xfrm>
            <a:off x="5003800" y="6149975"/>
            <a:ext cx="587375" cy="228600"/>
          </a:xfrm>
          <a:prstGeom prst="rect">
            <a:avLst/>
          </a:prstGeom>
          <a:noFill/>
          <a:ln w="9525">
            <a:noFill/>
            <a:miter lim="800000"/>
            <a:headEnd/>
            <a:tailEnd/>
          </a:ln>
        </p:spPr>
      </p:pic>
      <p:pic>
        <p:nvPicPr>
          <p:cNvPr id="3079" name="Picture 33" descr="NN_m_2c_RGB"/>
          <p:cNvPicPr>
            <a:picLocks noChangeAspect="1" noChangeArrowheads="1"/>
          </p:cNvPicPr>
          <p:nvPr/>
        </p:nvPicPr>
        <p:blipFill>
          <a:blip r:embed="rId8" cstate="print"/>
          <a:srcRect/>
          <a:stretch>
            <a:fillRect/>
          </a:stretch>
        </p:blipFill>
        <p:spPr bwMode="auto">
          <a:xfrm>
            <a:off x="7807325" y="5692775"/>
            <a:ext cx="1012825" cy="835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3714750" y="1428750"/>
            <a:ext cx="3143250" cy="842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chemeClr val="tx1"/>
              </a:solidFill>
            </a:endParaRPr>
          </a:p>
        </p:txBody>
      </p:sp>
      <p:sp>
        <p:nvSpPr>
          <p:cNvPr id="12291" name="Title 1"/>
          <p:cNvSpPr>
            <a:spLocks noGrp="1"/>
          </p:cNvSpPr>
          <p:nvPr>
            <p:ph type="title" idx="4294967295"/>
          </p:nvPr>
        </p:nvSpPr>
        <p:spPr/>
        <p:txBody>
          <a:bodyPr/>
          <a:lstStyle/>
          <a:p>
            <a:pPr eaLnBrk="1" hangingPunct="1"/>
            <a:r>
              <a:rPr lang="da-DK" smtClean="0">
                <a:sym typeface="Verdana" pitchFamily="34" charset="0"/>
              </a:rPr>
              <a:t>Diabète de type 1 (suite)</a:t>
            </a:r>
          </a:p>
        </p:txBody>
      </p:sp>
      <p:sp>
        <p:nvSpPr>
          <p:cNvPr id="12292" name="Content Placeholder 3"/>
          <p:cNvSpPr>
            <a:spLocks noGrp="1"/>
          </p:cNvSpPr>
          <p:nvPr>
            <p:ph sz="half" idx="4294967295"/>
          </p:nvPr>
        </p:nvSpPr>
        <p:spPr>
          <a:xfrm>
            <a:off x="5148263" y="1341438"/>
            <a:ext cx="3748087" cy="3890962"/>
          </a:xfrm>
        </p:spPr>
        <p:txBody>
          <a:bodyPr/>
          <a:lstStyle/>
          <a:p>
            <a:pPr eaLnBrk="1" hangingPunct="1">
              <a:buClr>
                <a:srgbClr val="009FDA"/>
              </a:buClr>
            </a:pPr>
            <a:r>
              <a:rPr lang="da-DK" smtClean="0">
                <a:solidFill>
                  <a:srgbClr val="001965"/>
                </a:solidFill>
                <a:sym typeface="Verdana" pitchFamily="34" charset="0"/>
              </a:rPr>
              <a:t>Le sang circule à travers les reins</a:t>
            </a:r>
          </a:p>
          <a:p>
            <a:pPr eaLnBrk="1" hangingPunct="1">
              <a:buClr>
                <a:srgbClr val="009FDA"/>
              </a:buClr>
            </a:pPr>
            <a:r>
              <a:rPr lang="da-DK" smtClean="0">
                <a:solidFill>
                  <a:srgbClr val="001965"/>
                </a:solidFill>
                <a:sym typeface="Verdana" pitchFamily="34" charset="0"/>
              </a:rPr>
              <a:t>Le glucose est excrété dans les urines (ce qui attire les fourmis)</a:t>
            </a:r>
          </a:p>
          <a:p>
            <a:pPr eaLnBrk="1" hangingPunct="1">
              <a:buClr>
                <a:srgbClr val="009FDA"/>
              </a:buClr>
            </a:pPr>
            <a:r>
              <a:rPr lang="da-DK" b="1" smtClean="0">
                <a:solidFill>
                  <a:srgbClr val="001965"/>
                </a:solidFill>
                <a:sym typeface="Verdana" pitchFamily="34" charset="0"/>
              </a:rPr>
              <a:t>Augmentation du volume urinaire</a:t>
            </a:r>
          </a:p>
          <a:p>
            <a:pPr eaLnBrk="1" hangingPunct="1">
              <a:buClr>
                <a:srgbClr val="009FDA"/>
              </a:buClr>
            </a:pPr>
            <a:r>
              <a:rPr lang="da-DK" b="1" smtClean="0">
                <a:solidFill>
                  <a:srgbClr val="001965"/>
                </a:solidFill>
                <a:sym typeface="Verdana" pitchFamily="34" charset="0"/>
              </a:rPr>
              <a:t>Énurésie</a:t>
            </a:r>
          </a:p>
          <a:p>
            <a:pPr eaLnBrk="1" hangingPunct="1">
              <a:buClr>
                <a:srgbClr val="009FDA"/>
              </a:buClr>
            </a:pPr>
            <a:r>
              <a:rPr lang="da-DK" b="1" smtClean="0">
                <a:solidFill>
                  <a:srgbClr val="001965"/>
                </a:solidFill>
                <a:sym typeface="Verdana" pitchFamily="34" charset="0"/>
              </a:rPr>
              <a:t>Déshydratation et perte de poids</a:t>
            </a:r>
          </a:p>
          <a:p>
            <a:pPr eaLnBrk="1" hangingPunct="1">
              <a:buClr>
                <a:srgbClr val="009FDA"/>
              </a:buClr>
            </a:pPr>
            <a:r>
              <a:rPr lang="da-DK" b="1" smtClean="0">
                <a:solidFill>
                  <a:srgbClr val="001965"/>
                </a:solidFill>
                <a:sym typeface="Verdana" pitchFamily="34" charset="0"/>
              </a:rPr>
              <a:t>Augmentation de la consommation de boissons </a:t>
            </a:r>
          </a:p>
        </p:txBody>
      </p:sp>
      <p:sp>
        <p:nvSpPr>
          <p:cNvPr id="11269" name="Slide Number Placeholder 28"/>
          <p:cNvSpPr>
            <a:spLocks noGrp="1"/>
          </p:cNvSpPr>
          <p:nvPr>
            <p:ph type="sldNum" sz="quarter" idx="11"/>
          </p:nvPr>
        </p:nvSpPr>
        <p:spPr/>
        <p:txBody>
          <a:bodyPr/>
          <a:lstStyle/>
          <a:p>
            <a:pPr eaLnBrk="0" hangingPunct="0">
              <a:buSzPct val="100000"/>
              <a:defRPr/>
            </a:pPr>
            <a:fld id="{17072B35-DEB8-41BA-9F45-C4BB1B6B891E}" type="slidenum">
              <a:rPr lang="da-DK" smtClean="0">
                <a:solidFill>
                  <a:srgbClr val="009FDA"/>
                </a:solidFill>
                <a:sym typeface="Verdana" pitchFamily="34" charset="0"/>
              </a:rPr>
              <a:pPr eaLnBrk="0" hangingPunct="0">
                <a:buSzPct val="100000"/>
                <a:defRPr/>
              </a:pPr>
              <a:t>10</a:t>
            </a:fld>
            <a:endParaRPr lang="da-DK" smtClean="0">
              <a:solidFill>
                <a:srgbClr val="009FDA"/>
              </a:solidFill>
              <a:sym typeface="Verdana" pitchFamily="34" charset="0"/>
            </a:endParaRPr>
          </a:p>
        </p:txBody>
      </p:sp>
      <p:grpSp>
        <p:nvGrpSpPr>
          <p:cNvPr id="12294" name="Group 1"/>
          <p:cNvGrpSpPr>
            <a:grpSpLocks/>
          </p:cNvGrpSpPr>
          <p:nvPr/>
        </p:nvGrpSpPr>
        <p:grpSpPr bwMode="auto">
          <a:xfrm>
            <a:off x="573088" y="1743075"/>
            <a:ext cx="4391025" cy="3014663"/>
            <a:chOff x="602681" y="1742799"/>
            <a:chExt cx="6185023" cy="3014925"/>
          </a:xfrm>
        </p:grpSpPr>
        <p:sp>
          <p:nvSpPr>
            <p:cNvPr id="12302" name="AutoShape 9"/>
            <p:cNvSpPr>
              <a:spLocks noChangeArrowheads="1"/>
            </p:cNvSpPr>
            <p:nvPr/>
          </p:nvSpPr>
          <p:spPr bwMode="auto">
            <a:xfrm>
              <a:off x="2305844" y="2100275"/>
              <a:ext cx="1587500" cy="2657449"/>
            </a:xfrm>
            <a:prstGeom prst="can">
              <a:avLst>
                <a:gd name="adj" fmla="val 12981"/>
              </a:avLst>
            </a:prstGeom>
            <a:solidFill>
              <a:srgbClr val="C00000"/>
            </a:solidFill>
            <a:ln w="9525">
              <a:solidFill>
                <a:schemeClr val="tx1"/>
              </a:solidFill>
              <a:round/>
              <a:headEnd/>
              <a:tailEnd/>
            </a:ln>
          </p:spPr>
          <p:txBody>
            <a:bodyPr wrap="none" anchor="ctr"/>
            <a:lstStyle/>
            <a:p>
              <a:endParaRPr lang="en-US"/>
            </a:p>
          </p:txBody>
        </p:sp>
        <p:sp>
          <p:nvSpPr>
            <p:cNvPr id="12303" name="AutoShape 10"/>
            <p:cNvSpPr>
              <a:spLocks noChangeArrowheads="1"/>
            </p:cNvSpPr>
            <p:nvPr/>
          </p:nvSpPr>
          <p:spPr bwMode="auto">
            <a:xfrm>
              <a:off x="3857626" y="2198687"/>
              <a:ext cx="2930078" cy="2559037"/>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p>
          </p:txBody>
        </p:sp>
        <p:sp>
          <p:nvSpPr>
            <p:cNvPr id="19460" name="Rectangle 11"/>
            <p:cNvSpPr>
              <a:spLocks noChangeArrowheads="1"/>
            </p:cNvSpPr>
            <p:nvPr/>
          </p:nvSpPr>
          <p:spPr bwMode="auto">
            <a:xfrm>
              <a:off x="3858427" y="2198452"/>
              <a:ext cx="44722" cy="2559272"/>
            </a:xfrm>
            <a:prstGeom prst="rect">
              <a:avLst/>
            </a:prstGeom>
            <a:solidFill>
              <a:schemeClr val="bg1">
                <a:lumMod val="65000"/>
              </a:schemeClr>
            </a:solidFill>
            <a:ln w="9525">
              <a:solidFill>
                <a:schemeClr val="tx1"/>
              </a:solidFill>
              <a:miter lim="800000"/>
              <a:headEnd/>
              <a:tailEnd/>
            </a:ln>
          </p:spPr>
          <p:txBody>
            <a:bodyPr wrap="none" anchor="ctr"/>
            <a:lstStyle/>
            <a:p>
              <a:pPr>
                <a:defRPr/>
              </a:pPr>
              <a:endParaRPr lang="en-US">
                <a:cs typeface="+mn-cs"/>
              </a:endParaRPr>
            </a:p>
          </p:txBody>
        </p:sp>
        <p:sp>
          <p:nvSpPr>
            <p:cNvPr id="12305" name="AutoShape 12"/>
            <p:cNvSpPr>
              <a:spLocks noChangeArrowheads="1"/>
            </p:cNvSpPr>
            <p:nvPr/>
          </p:nvSpPr>
          <p:spPr bwMode="auto">
            <a:xfrm>
              <a:off x="2573338" y="2927284"/>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2306" name="AutoShape 13"/>
            <p:cNvSpPr>
              <a:spLocks noChangeArrowheads="1"/>
            </p:cNvSpPr>
            <p:nvPr/>
          </p:nvSpPr>
          <p:spPr bwMode="auto">
            <a:xfrm>
              <a:off x="3362326" y="3034506"/>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2307" name="AutoShape 14"/>
            <p:cNvSpPr>
              <a:spLocks noChangeArrowheads="1"/>
            </p:cNvSpPr>
            <p:nvPr/>
          </p:nvSpPr>
          <p:spPr bwMode="auto">
            <a:xfrm>
              <a:off x="3024188" y="2854325"/>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2308" name="AutoShape 15"/>
            <p:cNvSpPr>
              <a:spLocks noChangeArrowheads="1"/>
            </p:cNvSpPr>
            <p:nvPr/>
          </p:nvSpPr>
          <p:spPr bwMode="auto">
            <a:xfrm>
              <a:off x="2789238" y="3271830"/>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2309" name="AutoShape 16"/>
            <p:cNvSpPr>
              <a:spLocks noChangeArrowheads="1"/>
            </p:cNvSpPr>
            <p:nvPr/>
          </p:nvSpPr>
          <p:spPr bwMode="auto">
            <a:xfrm>
              <a:off x="3302001" y="3476624"/>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2310" name="AutoShape 17"/>
            <p:cNvSpPr>
              <a:spLocks noChangeArrowheads="1"/>
            </p:cNvSpPr>
            <p:nvPr/>
          </p:nvSpPr>
          <p:spPr bwMode="auto">
            <a:xfrm>
              <a:off x="3146341" y="3868734"/>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2311" name="AutoShape 18"/>
            <p:cNvSpPr>
              <a:spLocks noChangeArrowheads="1"/>
            </p:cNvSpPr>
            <p:nvPr/>
          </p:nvSpPr>
          <p:spPr bwMode="auto">
            <a:xfrm>
              <a:off x="2789238" y="3702049"/>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2312" name="AutoShape 19"/>
            <p:cNvSpPr>
              <a:spLocks noChangeArrowheads="1"/>
            </p:cNvSpPr>
            <p:nvPr/>
          </p:nvSpPr>
          <p:spPr bwMode="auto">
            <a:xfrm>
              <a:off x="2789238" y="2510371"/>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2313" name="AutoShape 20"/>
            <p:cNvSpPr>
              <a:spLocks noChangeArrowheads="1"/>
            </p:cNvSpPr>
            <p:nvPr/>
          </p:nvSpPr>
          <p:spPr bwMode="auto">
            <a:xfrm>
              <a:off x="2573338" y="4294187"/>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2314" name="AutoShape 22"/>
            <p:cNvSpPr>
              <a:spLocks noChangeArrowheads="1"/>
            </p:cNvSpPr>
            <p:nvPr/>
          </p:nvSpPr>
          <p:spPr bwMode="auto">
            <a:xfrm>
              <a:off x="3278189" y="4325130"/>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grpSp>
          <p:nvGrpSpPr>
            <p:cNvPr id="12315" name="Group 1037"/>
            <p:cNvGrpSpPr>
              <a:grpSpLocks/>
            </p:cNvGrpSpPr>
            <p:nvPr/>
          </p:nvGrpSpPr>
          <p:grpSpPr bwMode="auto">
            <a:xfrm>
              <a:off x="602681" y="1742799"/>
              <a:ext cx="1204263" cy="553779"/>
              <a:chOff x="3896" y="1631"/>
              <a:chExt cx="628" cy="250"/>
            </a:xfrm>
          </p:grpSpPr>
          <p:sp>
            <p:nvSpPr>
              <p:cNvPr id="12321" name="Freeform 1039"/>
              <p:cNvSpPr>
                <a:spLocks/>
              </p:cNvSpPr>
              <p:nvPr/>
            </p:nvSpPr>
            <p:spPr bwMode="auto">
              <a:xfrm>
                <a:off x="3932" y="1749"/>
                <a:ext cx="211" cy="89"/>
              </a:xfrm>
              <a:custGeom>
                <a:avLst/>
                <a:gdLst>
                  <a:gd name="T0" fmla="*/ 0 w 632"/>
                  <a:gd name="T1" fmla="*/ 0 h 268"/>
                  <a:gd name="T2" fmla="*/ 0 w 632"/>
                  <a:gd name="T3" fmla="*/ 0 h 268"/>
                  <a:gd name="T4" fmla="*/ 0 w 632"/>
                  <a:gd name="T5" fmla="*/ 0 h 268"/>
                  <a:gd name="T6" fmla="*/ 0 w 632"/>
                  <a:gd name="T7" fmla="*/ 0 h 268"/>
                  <a:gd name="T8" fmla="*/ 0 w 632"/>
                  <a:gd name="T9" fmla="*/ 0 h 268"/>
                  <a:gd name="T10" fmla="*/ 0 w 632"/>
                  <a:gd name="T11" fmla="*/ 0 h 268"/>
                  <a:gd name="T12" fmla="*/ 0 w 632"/>
                  <a:gd name="T13" fmla="*/ 0 h 268"/>
                  <a:gd name="T14" fmla="*/ 0 w 632"/>
                  <a:gd name="T15" fmla="*/ 0 h 268"/>
                  <a:gd name="T16" fmla="*/ 0 w 632"/>
                  <a:gd name="T17" fmla="*/ 0 h 268"/>
                  <a:gd name="T18" fmla="*/ 0 w 632"/>
                  <a:gd name="T19" fmla="*/ 0 h 268"/>
                  <a:gd name="T20" fmla="*/ 0 w 632"/>
                  <a:gd name="T21" fmla="*/ 0 h 268"/>
                  <a:gd name="T22" fmla="*/ 0 w 632"/>
                  <a:gd name="T23" fmla="*/ 0 h 268"/>
                  <a:gd name="T24" fmla="*/ 0 w 632"/>
                  <a:gd name="T25" fmla="*/ 0 h 268"/>
                  <a:gd name="T26" fmla="*/ 0 w 632"/>
                  <a:gd name="T27" fmla="*/ 0 h 268"/>
                  <a:gd name="T28" fmla="*/ 0 w 632"/>
                  <a:gd name="T29" fmla="*/ 0 h 268"/>
                  <a:gd name="T30" fmla="*/ 0 w 632"/>
                  <a:gd name="T31" fmla="*/ 0 h 268"/>
                  <a:gd name="T32" fmla="*/ 0 w 632"/>
                  <a:gd name="T33" fmla="*/ 0 h 268"/>
                  <a:gd name="T34" fmla="*/ 0 w 632"/>
                  <a:gd name="T35" fmla="*/ 0 h 268"/>
                  <a:gd name="T36" fmla="*/ 0 w 632"/>
                  <a:gd name="T37" fmla="*/ 0 h 268"/>
                  <a:gd name="T38" fmla="*/ 0 w 632"/>
                  <a:gd name="T39" fmla="*/ 0 h 268"/>
                  <a:gd name="T40" fmla="*/ 0 w 632"/>
                  <a:gd name="T41" fmla="*/ 0 h 268"/>
                  <a:gd name="T42" fmla="*/ 0 w 632"/>
                  <a:gd name="T43" fmla="*/ 0 h 268"/>
                  <a:gd name="T44" fmla="*/ 0 w 632"/>
                  <a:gd name="T45" fmla="*/ 0 h 268"/>
                  <a:gd name="T46" fmla="*/ 0 w 632"/>
                  <a:gd name="T47" fmla="*/ 0 h 268"/>
                  <a:gd name="T48" fmla="*/ 0 w 632"/>
                  <a:gd name="T49" fmla="*/ 0 h 268"/>
                  <a:gd name="T50" fmla="*/ 0 w 632"/>
                  <a:gd name="T51" fmla="*/ 0 h 268"/>
                  <a:gd name="T52" fmla="*/ 0 w 632"/>
                  <a:gd name="T53" fmla="*/ 0 h 268"/>
                  <a:gd name="T54" fmla="*/ 0 w 632"/>
                  <a:gd name="T55" fmla="*/ 0 h 268"/>
                  <a:gd name="T56" fmla="*/ 0 w 632"/>
                  <a:gd name="T57" fmla="*/ 0 h 268"/>
                  <a:gd name="T58" fmla="*/ 0 w 632"/>
                  <a:gd name="T59" fmla="*/ 0 h 268"/>
                  <a:gd name="T60" fmla="*/ 0 w 632"/>
                  <a:gd name="T61" fmla="*/ 0 h 268"/>
                  <a:gd name="T62" fmla="*/ 0 w 632"/>
                  <a:gd name="T63" fmla="*/ 0 h 268"/>
                  <a:gd name="T64" fmla="*/ 0 w 632"/>
                  <a:gd name="T65" fmla="*/ 0 h 268"/>
                  <a:gd name="T66" fmla="*/ 0 w 632"/>
                  <a:gd name="T67" fmla="*/ 0 h 268"/>
                  <a:gd name="T68" fmla="*/ 0 w 632"/>
                  <a:gd name="T69" fmla="*/ 0 h 268"/>
                  <a:gd name="T70" fmla="*/ 0 w 632"/>
                  <a:gd name="T71" fmla="*/ 0 h 268"/>
                  <a:gd name="T72" fmla="*/ 0 w 632"/>
                  <a:gd name="T73" fmla="*/ 0 h 268"/>
                  <a:gd name="T74" fmla="*/ 0 w 632"/>
                  <a:gd name="T75" fmla="*/ 0 h 268"/>
                  <a:gd name="T76" fmla="*/ 0 w 632"/>
                  <a:gd name="T77" fmla="*/ 0 h 2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32"/>
                  <a:gd name="T118" fmla="*/ 0 h 268"/>
                  <a:gd name="T119" fmla="*/ 632 w 632"/>
                  <a:gd name="T120" fmla="*/ 268 h 26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32" h="268">
                    <a:moveTo>
                      <a:pt x="632" y="0"/>
                    </a:moveTo>
                    <a:lnTo>
                      <a:pt x="622" y="44"/>
                    </a:lnTo>
                    <a:lnTo>
                      <a:pt x="591" y="64"/>
                    </a:lnTo>
                    <a:lnTo>
                      <a:pt x="563" y="54"/>
                    </a:lnTo>
                    <a:lnTo>
                      <a:pt x="537" y="75"/>
                    </a:lnTo>
                    <a:lnTo>
                      <a:pt x="500" y="69"/>
                    </a:lnTo>
                    <a:lnTo>
                      <a:pt x="451" y="127"/>
                    </a:lnTo>
                    <a:lnTo>
                      <a:pt x="401" y="112"/>
                    </a:lnTo>
                    <a:lnTo>
                      <a:pt x="392" y="91"/>
                    </a:lnTo>
                    <a:lnTo>
                      <a:pt x="349" y="142"/>
                    </a:lnTo>
                    <a:lnTo>
                      <a:pt x="312" y="127"/>
                    </a:lnTo>
                    <a:lnTo>
                      <a:pt x="275" y="174"/>
                    </a:lnTo>
                    <a:lnTo>
                      <a:pt x="248" y="153"/>
                    </a:lnTo>
                    <a:lnTo>
                      <a:pt x="215" y="191"/>
                    </a:lnTo>
                    <a:lnTo>
                      <a:pt x="174" y="205"/>
                    </a:lnTo>
                    <a:lnTo>
                      <a:pt x="148" y="194"/>
                    </a:lnTo>
                    <a:lnTo>
                      <a:pt x="116" y="238"/>
                    </a:lnTo>
                    <a:lnTo>
                      <a:pt x="78" y="234"/>
                    </a:lnTo>
                    <a:lnTo>
                      <a:pt x="59" y="211"/>
                    </a:lnTo>
                    <a:lnTo>
                      <a:pt x="31" y="268"/>
                    </a:lnTo>
                    <a:lnTo>
                      <a:pt x="0" y="263"/>
                    </a:lnTo>
                    <a:lnTo>
                      <a:pt x="4" y="238"/>
                    </a:lnTo>
                    <a:lnTo>
                      <a:pt x="22" y="226"/>
                    </a:lnTo>
                    <a:lnTo>
                      <a:pt x="53" y="194"/>
                    </a:lnTo>
                    <a:lnTo>
                      <a:pt x="95" y="179"/>
                    </a:lnTo>
                    <a:lnTo>
                      <a:pt x="136" y="174"/>
                    </a:lnTo>
                    <a:lnTo>
                      <a:pt x="169" y="142"/>
                    </a:lnTo>
                    <a:lnTo>
                      <a:pt x="237" y="131"/>
                    </a:lnTo>
                    <a:lnTo>
                      <a:pt x="258" y="106"/>
                    </a:lnTo>
                    <a:lnTo>
                      <a:pt x="301" y="112"/>
                    </a:lnTo>
                    <a:lnTo>
                      <a:pt x="332" y="64"/>
                    </a:lnTo>
                    <a:lnTo>
                      <a:pt x="392" y="57"/>
                    </a:lnTo>
                    <a:lnTo>
                      <a:pt x="444" y="44"/>
                    </a:lnTo>
                    <a:lnTo>
                      <a:pt x="479" y="44"/>
                    </a:lnTo>
                    <a:lnTo>
                      <a:pt x="531" y="12"/>
                    </a:lnTo>
                    <a:lnTo>
                      <a:pt x="554" y="27"/>
                    </a:lnTo>
                    <a:lnTo>
                      <a:pt x="600" y="0"/>
                    </a:lnTo>
                    <a:lnTo>
                      <a:pt x="632" y="0"/>
                    </a:lnTo>
                    <a:close/>
                  </a:path>
                </a:pathLst>
              </a:custGeom>
              <a:solidFill>
                <a:srgbClr val="FFFFFF"/>
              </a:solidFill>
              <a:ln w="9525">
                <a:noFill/>
                <a:round/>
                <a:headEnd/>
                <a:tailEnd/>
              </a:ln>
            </p:spPr>
            <p:txBody>
              <a:bodyPr/>
              <a:lstStyle/>
              <a:p>
                <a:endParaRPr lang="fr-FR"/>
              </a:p>
            </p:txBody>
          </p:sp>
          <p:sp>
            <p:nvSpPr>
              <p:cNvPr id="12322" name="Freeform 1040"/>
              <p:cNvSpPr>
                <a:spLocks/>
              </p:cNvSpPr>
              <p:nvPr/>
            </p:nvSpPr>
            <p:spPr bwMode="auto">
              <a:xfrm>
                <a:off x="4369" y="1661"/>
                <a:ext cx="106" cy="49"/>
              </a:xfrm>
              <a:custGeom>
                <a:avLst/>
                <a:gdLst>
                  <a:gd name="T0" fmla="*/ 0 w 317"/>
                  <a:gd name="T1" fmla="*/ 0 h 147"/>
                  <a:gd name="T2" fmla="*/ 0 w 317"/>
                  <a:gd name="T3" fmla="*/ 0 h 147"/>
                  <a:gd name="T4" fmla="*/ 0 w 317"/>
                  <a:gd name="T5" fmla="*/ 0 h 147"/>
                  <a:gd name="T6" fmla="*/ 0 w 317"/>
                  <a:gd name="T7" fmla="*/ 0 h 147"/>
                  <a:gd name="T8" fmla="*/ 0 w 317"/>
                  <a:gd name="T9" fmla="*/ 0 h 147"/>
                  <a:gd name="T10" fmla="*/ 0 w 317"/>
                  <a:gd name="T11" fmla="*/ 0 h 147"/>
                  <a:gd name="T12" fmla="*/ 0 w 317"/>
                  <a:gd name="T13" fmla="*/ 0 h 147"/>
                  <a:gd name="T14" fmla="*/ 0 w 317"/>
                  <a:gd name="T15" fmla="*/ 0 h 147"/>
                  <a:gd name="T16" fmla="*/ 0 w 317"/>
                  <a:gd name="T17" fmla="*/ 0 h 147"/>
                  <a:gd name="T18" fmla="*/ 0 w 317"/>
                  <a:gd name="T19" fmla="*/ 0 h 147"/>
                  <a:gd name="T20" fmla="*/ 0 w 317"/>
                  <a:gd name="T21" fmla="*/ 0 h 147"/>
                  <a:gd name="T22" fmla="*/ 0 w 317"/>
                  <a:gd name="T23" fmla="*/ 0 h 147"/>
                  <a:gd name="T24" fmla="*/ 0 w 317"/>
                  <a:gd name="T25" fmla="*/ 0 h 147"/>
                  <a:gd name="T26" fmla="*/ 0 w 317"/>
                  <a:gd name="T27" fmla="*/ 0 h 147"/>
                  <a:gd name="T28" fmla="*/ 0 w 317"/>
                  <a:gd name="T29" fmla="*/ 0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7"/>
                  <a:gd name="T46" fmla="*/ 0 h 147"/>
                  <a:gd name="T47" fmla="*/ 317 w 317"/>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7" h="147">
                    <a:moveTo>
                      <a:pt x="43" y="95"/>
                    </a:moveTo>
                    <a:lnTo>
                      <a:pt x="0" y="120"/>
                    </a:lnTo>
                    <a:lnTo>
                      <a:pt x="0" y="147"/>
                    </a:lnTo>
                    <a:lnTo>
                      <a:pt x="64" y="130"/>
                    </a:lnTo>
                    <a:lnTo>
                      <a:pt x="106" y="95"/>
                    </a:lnTo>
                    <a:lnTo>
                      <a:pt x="175" y="95"/>
                    </a:lnTo>
                    <a:lnTo>
                      <a:pt x="223" y="58"/>
                    </a:lnTo>
                    <a:lnTo>
                      <a:pt x="285" y="29"/>
                    </a:lnTo>
                    <a:lnTo>
                      <a:pt x="317" y="0"/>
                    </a:lnTo>
                    <a:lnTo>
                      <a:pt x="205" y="40"/>
                    </a:lnTo>
                    <a:lnTo>
                      <a:pt x="186" y="62"/>
                    </a:lnTo>
                    <a:lnTo>
                      <a:pt x="131" y="68"/>
                    </a:lnTo>
                    <a:lnTo>
                      <a:pt x="83" y="87"/>
                    </a:lnTo>
                    <a:lnTo>
                      <a:pt x="43" y="95"/>
                    </a:lnTo>
                    <a:close/>
                  </a:path>
                </a:pathLst>
              </a:custGeom>
              <a:solidFill>
                <a:srgbClr val="FFFFFF"/>
              </a:solidFill>
              <a:ln w="9525">
                <a:noFill/>
                <a:round/>
                <a:headEnd/>
                <a:tailEnd/>
              </a:ln>
            </p:spPr>
            <p:txBody>
              <a:bodyPr/>
              <a:lstStyle/>
              <a:p>
                <a:endParaRPr lang="fr-FR"/>
              </a:p>
            </p:txBody>
          </p:sp>
          <p:sp>
            <p:nvSpPr>
              <p:cNvPr id="12323" name="Freeform 1041"/>
              <p:cNvSpPr>
                <a:spLocks/>
              </p:cNvSpPr>
              <p:nvPr/>
            </p:nvSpPr>
            <p:spPr bwMode="auto">
              <a:xfrm>
                <a:off x="3908" y="1842"/>
                <a:ext cx="10" cy="21"/>
              </a:xfrm>
              <a:custGeom>
                <a:avLst/>
                <a:gdLst>
                  <a:gd name="T0" fmla="*/ 0 w 31"/>
                  <a:gd name="T1" fmla="*/ 0 h 61"/>
                  <a:gd name="T2" fmla="*/ 0 w 31"/>
                  <a:gd name="T3" fmla="*/ 0 h 61"/>
                  <a:gd name="T4" fmla="*/ 0 w 31"/>
                  <a:gd name="T5" fmla="*/ 0 h 61"/>
                  <a:gd name="T6" fmla="*/ 0 w 31"/>
                  <a:gd name="T7" fmla="*/ 0 h 61"/>
                  <a:gd name="T8" fmla="*/ 0 w 31"/>
                  <a:gd name="T9" fmla="*/ 0 h 61"/>
                  <a:gd name="T10" fmla="*/ 0 w 31"/>
                  <a:gd name="T11" fmla="*/ 0 h 61"/>
                  <a:gd name="T12" fmla="*/ 0 60000 65536"/>
                  <a:gd name="T13" fmla="*/ 0 60000 65536"/>
                  <a:gd name="T14" fmla="*/ 0 60000 65536"/>
                  <a:gd name="T15" fmla="*/ 0 60000 65536"/>
                  <a:gd name="T16" fmla="*/ 0 60000 65536"/>
                  <a:gd name="T17" fmla="*/ 0 60000 65536"/>
                  <a:gd name="T18" fmla="*/ 0 w 31"/>
                  <a:gd name="T19" fmla="*/ 0 h 61"/>
                  <a:gd name="T20" fmla="*/ 31 w 31"/>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31" h="61">
                    <a:moveTo>
                      <a:pt x="25" y="0"/>
                    </a:moveTo>
                    <a:lnTo>
                      <a:pt x="0" y="21"/>
                    </a:lnTo>
                    <a:lnTo>
                      <a:pt x="6" y="61"/>
                    </a:lnTo>
                    <a:lnTo>
                      <a:pt x="31" y="53"/>
                    </a:lnTo>
                    <a:lnTo>
                      <a:pt x="25" y="0"/>
                    </a:lnTo>
                    <a:close/>
                  </a:path>
                </a:pathLst>
              </a:custGeom>
              <a:solidFill>
                <a:srgbClr val="FFFFFF"/>
              </a:solidFill>
              <a:ln w="9525">
                <a:noFill/>
                <a:round/>
                <a:headEnd/>
                <a:tailEnd/>
              </a:ln>
            </p:spPr>
            <p:txBody>
              <a:bodyPr/>
              <a:lstStyle/>
              <a:p>
                <a:endParaRPr lang="fr-FR"/>
              </a:p>
            </p:txBody>
          </p:sp>
          <p:sp>
            <p:nvSpPr>
              <p:cNvPr id="12324" name="Freeform 1042"/>
              <p:cNvSpPr>
                <a:spLocks/>
              </p:cNvSpPr>
              <p:nvPr/>
            </p:nvSpPr>
            <p:spPr bwMode="auto">
              <a:xfrm>
                <a:off x="3896" y="1870"/>
                <a:ext cx="7" cy="11"/>
              </a:xfrm>
              <a:custGeom>
                <a:avLst/>
                <a:gdLst>
                  <a:gd name="T0" fmla="*/ 0 w 22"/>
                  <a:gd name="T1" fmla="*/ 0 h 33"/>
                  <a:gd name="T2" fmla="*/ 0 w 22"/>
                  <a:gd name="T3" fmla="*/ 0 h 33"/>
                  <a:gd name="T4" fmla="*/ 0 w 22"/>
                  <a:gd name="T5" fmla="*/ 0 h 33"/>
                  <a:gd name="T6" fmla="*/ 0 w 22"/>
                  <a:gd name="T7" fmla="*/ 0 h 33"/>
                  <a:gd name="T8" fmla="*/ 0 w 22"/>
                  <a:gd name="T9" fmla="*/ 0 h 33"/>
                  <a:gd name="T10" fmla="*/ 0 w 22"/>
                  <a:gd name="T11" fmla="*/ 0 h 33"/>
                  <a:gd name="T12" fmla="*/ 0 60000 65536"/>
                  <a:gd name="T13" fmla="*/ 0 60000 65536"/>
                  <a:gd name="T14" fmla="*/ 0 60000 65536"/>
                  <a:gd name="T15" fmla="*/ 0 60000 65536"/>
                  <a:gd name="T16" fmla="*/ 0 60000 65536"/>
                  <a:gd name="T17" fmla="*/ 0 60000 65536"/>
                  <a:gd name="T18" fmla="*/ 0 w 22"/>
                  <a:gd name="T19" fmla="*/ 0 h 33"/>
                  <a:gd name="T20" fmla="*/ 22 w 2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2" h="33">
                    <a:moveTo>
                      <a:pt x="6" y="0"/>
                    </a:moveTo>
                    <a:lnTo>
                      <a:pt x="0" y="10"/>
                    </a:lnTo>
                    <a:lnTo>
                      <a:pt x="6" y="33"/>
                    </a:lnTo>
                    <a:lnTo>
                      <a:pt x="22" y="25"/>
                    </a:lnTo>
                    <a:lnTo>
                      <a:pt x="6" y="0"/>
                    </a:lnTo>
                    <a:close/>
                  </a:path>
                </a:pathLst>
              </a:custGeom>
              <a:solidFill>
                <a:srgbClr val="FFFFFF"/>
              </a:solidFill>
              <a:ln w="9525">
                <a:noFill/>
                <a:round/>
                <a:headEnd/>
                <a:tailEnd/>
              </a:ln>
            </p:spPr>
            <p:txBody>
              <a:bodyPr/>
              <a:lstStyle/>
              <a:p>
                <a:endParaRPr lang="fr-FR"/>
              </a:p>
            </p:txBody>
          </p:sp>
          <p:sp>
            <p:nvSpPr>
              <p:cNvPr id="12325" name="Freeform 1043"/>
              <p:cNvSpPr>
                <a:spLocks/>
              </p:cNvSpPr>
              <p:nvPr/>
            </p:nvSpPr>
            <p:spPr bwMode="auto">
              <a:xfrm>
                <a:off x="4515" y="1631"/>
                <a:ext cx="9" cy="9"/>
              </a:xfrm>
              <a:custGeom>
                <a:avLst/>
                <a:gdLst>
                  <a:gd name="T0" fmla="*/ 0 w 27"/>
                  <a:gd name="T1" fmla="*/ 0 h 27"/>
                  <a:gd name="T2" fmla="*/ 0 w 27"/>
                  <a:gd name="T3" fmla="*/ 0 h 27"/>
                  <a:gd name="T4" fmla="*/ 0 w 27"/>
                  <a:gd name="T5" fmla="*/ 0 h 27"/>
                  <a:gd name="T6" fmla="*/ 0 w 27"/>
                  <a:gd name="T7" fmla="*/ 0 h 27"/>
                  <a:gd name="T8" fmla="*/ 0 w 27"/>
                  <a:gd name="T9" fmla="*/ 0 h 27"/>
                  <a:gd name="T10" fmla="*/ 0 w 27"/>
                  <a:gd name="T11" fmla="*/ 0 h 27"/>
                  <a:gd name="T12" fmla="*/ 0 60000 65536"/>
                  <a:gd name="T13" fmla="*/ 0 60000 65536"/>
                  <a:gd name="T14" fmla="*/ 0 60000 65536"/>
                  <a:gd name="T15" fmla="*/ 0 60000 65536"/>
                  <a:gd name="T16" fmla="*/ 0 60000 65536"/>
                  <a:gd name="T17" fmla="*/ 0 60000 65536"/>
                  <a:gd name="T18" fmla="*/ 0 w 27"/>
                  <a:gd name="T19" fmla="*/ 0 h 27"/>
                  <a:gd name="T20" fmla="*/ 27 w 2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7" h="27">
                    <a:moveTo>
                      <a:pt x="27" y="0"/>
                    </a:moveTo>
                    <a:lnTo>
                      <a:pt x="3" y="0"/>
                    </a:lnTo>
                    <a:lnTo>
                      <a:pt x="0" y="27"/>
                    </a:lnTo>
                    <a:lnTo>
                      <a:pt x="27" y="11"/>
                    </a:lnTo>
                    <a:lnTo>
                      <a:pt x="27" y="0"/>
                    </a:lnTo>
                    <a:close/>
                  </a:path>
                </a:pathLst>
              </a:custGeom>
              <a:solidFill>
                <a:srgbClr val="FFFFFF"/>
              </a:solidFill>
              <a:ln w="9525">
                <a:noFill/>
                <a:round/>
                <a:headEnd/>
                <a:tailEnd/>
              </a:ln>
            </p:spPr>
            <p:txBody>
              <a:bodyPr/>
              <a:lstStyle/>
              <a:p>
                <a:endParaRPr lang="fr-FR"/>
              </a:p>
            </p:txBody>
          </p:sp>
        </p:grpSp>
        <p:pic>
          <p:nvPicPr>
            <p:cNvPr id="12316" name="Picture 27" descr="Gold_Key.bmp"/>
            <p:cNvPicPr>
              <a:picLocks noChangeAspect="1"/>
            </p:cNvPicPr>
            <p:nvPr/>
          </p:nvPicPr>
          <p:blipFill>
            <a:blip r:embed="rId3"/>
            <a:srcRect/>
            <a:stretch>
              <a:fillRect/>
            </a:stretch>
          </p:blipFill>
          <p:spPr bwMode="auto">
            <a:xfrm>
              <a:off x="3005138" y="4267150"/>
              <a:ext cx="176213" cy="285750"/>
            </a:xfrm>
            <a:prstGeom prst="rect">
              <a:avLst/>
            </a:prstGeom>
            <a:noFill/>
            <a:ln w="9525">
              <a:noFill/>
              <a:miter lim="800000"/>
              <a:headEnd/>
              <a:tailEnd/>
            </a:ln>
          </p:spPr>
        </p:pic>
        <p:pic>
          <p:nvPicPr>
            <p:cNvPr id="12317" name="Picture 27" descr="Gold_Key.bmp"/>
            <p:cNvPicPr>
              <a:picLocks noChangeAspect="1"/>
            </p:cNvPicPr>
            <p:nvPr/>
          </p:nvPicPr>
          <p:blipFill>
            <a:blip r:embed="rId3"/>
            <a:srcRect/>
            <a:stretch>
              <a:fillRect/>
            </a:stretch>
          </p:blipFill>
          <p:spPr bwMode="auto">
            <a:xfrm>
              <a:off x="3429794" y="3602830"/>
              <a:ext cx="176213" cy="285750"/>
            </a:xfrm>
            <a:prstGeom prst="rect">
              <a:avLst/>
            </a:prstGeom>
            <a:noFill/>
            <a:ln w="9525">
              <a:noFill/>
              <a:miter lim="800000"/>
              <a:headEnd/>
              <a:tailEnd/>
            </a:ln>
          </p:spPr>
        </p:pic>
        <p:pic>
          <p:nvPicPr>
            <p:cNvPr id="12318" name="Picture 29" descr="doorLock.jpg"/>
            <p:cNvPicPr>
              <a:picLocks noChangeAspect="1"/>
            </p:cNvPicPr>
            <p:nvPr/>
          </p:nvPicPr>
          <p:blipFill>
            <a:blip r:embed="rId4"/>
            <a:srcRect/>
            <a:stretch>
              <a:fillRect/>
            </a:stretch>
          </p:blipFill>
          <p:spPr bwMode="auto">
            <a:xfrm>
              <a:off x="3929063" y="2857500"/>
              <a:ext cx="500062" cy="344488"/>
            </a:xfrm>
            <a:prstGeom prst="rect">
              <a:avLst/>
            </a:prstGeom>
            <a:noFill/>
            <a:ln w="9525">
              <a:solidFill>
                <a:schemeClr val="tx1"/>
              </a:solidFill>
              <a:miter lim="800000"/>
              <a:headEnd/>
              <a:tailEnd/>
            </a:ln>
          </p:spPr>
        </p:pic>
        <p:pic>
          <p:nvPicPr>
            <p:cNvPr id="12319" name="Picture 29" descr="doorLock.jpg"/>
            <p:cNvPicPr>
              <a:picLocks noChangeAspect="1"/>
            </p:cNvPicPr>
            <p:nvPr/>
          </p:nvPicPr>
          <p:blipFill>
            <a:blip r:embed="rId4"/>
            <a:srcRect/>
            <a:stretch>
              <a:fillRect/>
            </a:stretch>
          </p:blipFill>
          <p:spPr bwMode="auto">
            <a:xfrm>
              <a:off x="3915409" y="3790949"/>
              <a:ext cx="500062" cy="344488"/>
            </a:xfrm>
            <a:prstGeom prst="rect">
              <a:avLst/>
            </a:prstGeom>
            <a:noFill/>
            <a:ln w="9525">
              <a:solidFill>
                <a:schemeClr val="tx1"/>
              </a:solidFill>
              <a:miter lim="800000"/>
              <a:headEnd/>
              <a:tailEnd/>
            </a:ln>
          </p:spPr>
        </p:pic>
        <p:pic>
          <p:nvPicPr>
            <p:cNvPr id="12320" name="Picture 27" descr="Gold_Key.bmp"/>
            <p:cNvPicPr>
              <a:picLocks noChangeAspect="1"/>
            </p:cNvPicPr>
            <p:nvPr/>
          </p:nvPicPr>
          <p:blipFill>
            <a:blip r:embed="rId3"/>
            <a:srcRect/>
            <a:stretch>
              <a:fillRect/>
            </a:stretch>
          </p:blipFill>
          <p:spPr bwMode="auto">
            <a:xfrm>
              <a:off x="2370137" y="1825422"/>
              <a:ext cx="176213" cy="285750"/>
            </a:xfrm>
            <a:prstGeom prst="rect">
              <a:avLst/>
            </a:prstGeom>
            <a:noFill/>
            <a:ln w="9525">
              <a:noFill/>
              <a:miter lim="800000"/>
              <a:headEnd/>
              <a:tailEnd/>
            </a:ln>
          </p:spPr>
        </p:pic>
      </p:grpSp>
      <p:grpSp>
        <p:nvGrpSpPr>
          <p:cNvPr id="12295" name="Group 144"/>
          <p:cNvGrpSpPr>
            <a:grpSpLocks/>
          </p:cNvGrpSpPr>
          <p:nvPr/>
        </p:nvGrpSpPr>
        <p:grpSpPr bwMode="auto">
          <a:xfrm>
            <a:off x="3911600" y="2359025"/>
            <a:ext cx="908050" cy="815975"/>
            <a:chOff x="6588125" y="2428869"/>
            <a:chExt cx="1341461" cy="1431932"/>
          </a:xfrm>
        </p:grpSpPr>
        <p:sp>
          <p:nvSpPr>
            <p:cNvPr id="12298" name="Oval 39"/>
            <p:cNvSpPr>
              <a:spLocks noChangeArrowheads="1"/>
            </p:cNvSpPr>
            <p:nvPr/>
          </p:nvSpPr>
          <p:spPr bwMode="auto">
            <a:xfrm>
              <a:off x="6588125" y="2428869"/>
              <a:ext cx="1341461" cy="1431932"/>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12299" name="AutoShape 40"/>
            <p:cNvSpPr>
              <a:spLocks noChangeArrowheads="1"/>
            </p:cNvSpPr>
            <p:nvPr/>
          </p:nvSpPr>
          <p:spPr bwMode="auto">
            <a:xfrm>
              <a:off x="7021513" y="2879725"/>
              <a:ext cx="144462" cy="144463"/>
            </a:xfrm>
            <a:prstGeom prst="flowChartConnector">
              <a:avLst/>
            </a:prstGeom>
            <a:solidFill>
              <a:schemeClr val="accent1"/>
            </a:solidFill>
            <a:ln w="9525">
              <a:solidFill>
                <a:schemeClr val="tx1"/>
              </a:solidFill>
              <a:round/>
              <a:headEnd/>
              <a:tailEnd/>
            </a:ln>
          </p:spPr>
          <p:txBody>
            <a:bodyPr wrap="none" anchor="ctr"/>
            <a:lstStyle/>
            <a:p>
              <a:endParaRPr lang="en-US"/>
            </a:p>
          </p:txBody>
        </p:sp>
        <p:sp>
          <p:nvSpPr>
            <p:cNvPr id="12300" name="AutoShape 41"/>
            <p:cNvSpPr>
              <a:spLocks noChangeArrowheads="1"/>
            </p:cNvSpPr>
            <p:nvPr/>
          </p:nvSpPr>
          <p:spPr bwMode="auto">
            <a:xfrm>
              <a:off x="7453313" y="2879725"/>
              <a:ext cx="144462" cy="144463"/>
            </a:xfrm>
            <a:prstGeom prst="flowChartConnector">
              <a:avLst/>
            </a:prstGeom>
            <a:solidFill>
              <a:schemeClr val="accent1"/>
            </a:solidFill>
            <a:ln w="9525">
              <a:solidFill>
                <a:schemeClr val="tx1"/>
              </a:solidFill>
              <a:round/>
              <a:headEnd/>
              <a:tailEnd/>
            </a:ln>
          </p:spPr>
          <p:txBody>
            <a:bodyPr wrap="none" anchor="ctr"/>
            <a:lstStyle/>
            <a:p>
              <a:endParaRPr lang="en-US"/>
            </a:p>
          </p:txBody>
        </p:sp>
        <p:sp>
          <p:nvSpPr>
            <p:cNvPr id="12301" name="AutoShape 42"/>
            <p:cNvSpPr>
              <a:spLocks noChangeArrowheads="1"/>
            </p:cNvSpPr>
            <p:nvPr/>
          </p:nvSpPr>
          <p:spPr bwMode="auto">
            <a:xfrm rot="5400000" flipV="1">
              <a:off x="7187407" y="3045619"/>
              <a:ext cx="169862" cy="647700"/>
            </a:xfrm>
            <a:prstGeom prst="moon">
              <a:avLst>
                <a:gd name="adj" fmla="val 58042"/>
              </a:avLst>
            </a:prstGeom>
            <a:solidFill>
              <a:schemeClr val="accent1"/>
            </a:solidFill>
            <a:ln w="9525">
              <a:solidFill>
                <a:schemeClr val="tx1"/>
              </a:solidFill>
              <a:miter lim="800000"/>
              <a:headEnd/>
              <a:tailEnd/>
            </a:ln>
          </p:spPr>
          <p:txBody>
            <a:bodyPr wrap="none" anchor="ctr"/>
            <a:lstStyle/>
            <a:p>
              <a:endParaRPr lang="en-US"/>
            </a:p>
          </p:txBody>
        </p:sp>
      </p:grpSp>
      <p:pic>
        <p:nvPicPr>
          <p:cNvPr id="67" name="Picture 79"/>
          <p:cNvPicPr>
            <a:picLocks noChangeAspect="1" noChangeArrowheads="1"/>
          </p:cNvPicPr>
          <p:nvPr/>
        </p:nvPicPr>
        <p:blipFill>
          <a:blip r:embed="rId5">
            <a:clrChange>
              <a:clrFrom>
                <a:srgbClr val="003466"/>
              </a:clrFrom>
              <a:clrTo>
                <a:srgbClr val="003466">
                  <a:alpha val="0"/>
                </a:srgbClr>
              </a:clrTo>
            </a:clrChange>
          </a:blip>
          <a:srcRect l="-4330" t="1534" r="65926" b="36043"/>
          <a:stretch>
            <a:fillRect/>
          </a:stretch>
        </p:blipFill>
        <p:spPr bwMode="auto">
          <a:xfrm>
            <a:off x="238125" y="3602038"/>
            <a:ext cx="909638" cy="97790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2297" name="Picture 3" descr="cdic.jpg"/>
          <p:cNvPicPr>
            <a:picLocks noChangeAspect="1"/>
          </p:cNvPicPr>
          <p:nvPr/>
        </p:nvPicPr>
        <p:blipFill>
          <a:blip r:embed="rId6"/>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5072063" y="6143625"/>
            <a:ext cx="914400" cy="285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buSzPct val="100000"/>
              <a:defRPr/>
            </a:pPr>
            <a:r>
              <a:rPr lang="da-DK">
                <a:solidFill>
                  <a:srgbClr val="000000"/>
                </a:solidFill>
                <a:sym typeface="Verdana" pitchFamily="34" charset="0"/>
              </a:rPr>
              <a:t>Cellule</a:t>
            </a:r>
          </a:p>
        </p:txBody>
      </p:sp>
      <p:sp>
        <p:nvSpPr>
          <p:cNvPr id="31" name="Rectangle 30"/>
          <p:cNvSpPr/>
          <p:nvPr/>
        </p:nvSpPr>
        <p:spPr>
          <a:xfrm>
            <a:off x="3714750" y="1428750"/>
            <a:ext cx="3143250" cy="842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chemeClr val="tx1"/>
              </a:solidFill>
            </a:endParaRPr>
          </a:p>
        </p:txBody>
      </p:sp>
      <p:sp>
        <p:nvSpPr>
          <p:cNvPr id="13316" name="Title 1"/>
          <p:cNvSpPr>
            <a:spLocks noGrp="1"/>
          </p:cNvSpPr>
          <p:nvPr>
            <p:ph type="title" idx="4294967295"/>
          </p:nvPr>
        </p:nvSpPr>
        <p:spPr/>
        <p:txBody>
          <a:bodyPr/>
          <a:lstStyle/>
          <a:p>
            <a:pPr eaLnBrk="1" hangingPunct="1"/>
            <a:r>
              <a:rPr lang="da-DK" smtClean="0">
                <a:sym typeface="Verdana" pitchFamily="34" charset="0"/>
              </a:rPr>
              <a:t>Diabète de type 1 (suite)</a:t>
            </a:r>
          </a:p>
        </p:txBody>
      </p:sp>
      <p:sp>
        <p:nvSpPr>
          <p:cNvPr id="13317" name="Content Placeholder 3"/>
          <p:cNvSpPr>
            <a:spLocks noGrp="1"/>
          </p:cNvSpPr>
          <p:nvPr>
            <p:ph sz="half" idx="4294967295"/>
          </p:nvPr>
        </p:nvSpPr>
        <p:spPr>
          <a:xfrm>
            <a:off x="5651500" y="1916113"/>
            <a:ext cx="3168650" cy="3890962"/>
          </a:xfrm>
        </p:spPr>
        <p:txBody>
          <a:bodyPr/>
          <a:lstStyle/>
          <a:p>
            <a:pPr eaLnBrk="1" hangingPunct="1">
              <a:spcAft>
                <a:spcPct val="10000"/>
              </a:spcAft>
              <a:buClr>
                <a:srgbClr val="009FDA"/>
              </a:buClr>
            </a:pPr>
            <a:r>
              <a:rPr lang="da-DK" smtClean="0">
                <a:solidFill>
                  <a:srgbClr val="001965"/>
                </a:solidFill>
                <a:sym typeface="Verdana" pitchFamily="34" charset="0"/>
              </a:rPr>
              <a:t>L'organisme puise dans les réserves du foie, des muscles et des tissus graisseux pour produire plus d'énergie</a:t>
            </a:r>
          </a:p>
          <a:p>
            <a:pPr eaLnBrk="1" hangingPunct="1">
              <a:spcAft>
                <a:spcPct val="10000"/>
              </a:spcAft>
              <a:buClr>
                <a:srgbClr val="009FDA"/>
              </a:buClr>
            </a:pPr>
            <a:r>
              <a:rPr lang="da-DK" b="1" smtClean="0">
                <a:solidFill>
                  <a:srgbClr val="001965"/>
                </a:solidFill>
                <a:sym typeface="Verdana" pitchFamily="34" charset="0"/>
              </a:rPr>
              <a:t>Perte de poids</a:t>
            </a:r>
          </a:p>
          <a:p>
            <a:pPr eaLnBrk="1" hangingPunct="1">
              <a:spcAft>
                <a:spcPct val="10000"/>
              </a:spcAft>
              <a:buClr>
                <a:srgbClr val="009FDA"/>
              </a:buClr>
            </a:pPr>
            <a:r>
              <a:rPr lang="da-DK" b="1" smtClean="0">
                <a:solidFill>
                  <a:srgbClr val="001965"/>
                </a:solidFill>
                <a:sym typeface="Verdana" pitchFamily="34" charset="0"/>
              </a:rPr>
              <a:t>Corps cétoniques</a:t>
            </a:r>
          </a:p>
        </p:txBody>
      </p:sp>
      <p:sp>
        <p:nvSpPr>
          <p:cNvPr id="12294" name="Slide Number Placeholder 28"/>
          <p:cNvSpPr>
            <a:spLocks noGrp="1"/>
          </p:cNvSpPr>
          <p:nvPr>
            <p:ph type="sldNum" sz="quarter" idx="11"/>
          </p:nvPr>
        </p:nvSpPr>
        <p:spPr/>
        <p:txBody>
          <a:bodyPr/>
          <a:lstStyle/>
          <a:p>
            <a:pPr eaLnBrk="0" hangingPunct="0">
              <a:buSzPct val="100000"/>
              <a:defRPr/>
            </a:pPr>
            <a:fld id="{048F7A1A-79EC-4327-9843-9DF1B19F8CA0}" type="slidenum">
              <a:rPr lang="da-DK" smtClean="0">
                <a:solidFill>
                  <a:srgbClr val="009FDA"/>
                </a:solidFill>
                <a:sym typeface="Verdana" pitchFamily="34" charset="0"/>
              </a:rPr>
              <a:pPr eaLnBrk="0" hangingPunct="0">
                <a:buSzPct val="100000"/>
                <a:defRPr/>
              </a:pPr>
              <a:t>11</a:t>
            </a:fld>
            <a:endParaRPr lang="da-DK" smtClean="0">
              <a:solidFill>
                <a:srgbClr val="009FDA"/>
              </a:solidFill>
              <a:sym typeface="Verdana" pitchFamily="34" charset="0"/>
            </a:endParaRPr>
          </a:p>
        </p:txBody>
      </p:sp>
      <p:grpSp>
        <p:nvGrpSpPr>
          <p:cNvPr id="13319" name="Group 1"/>
          <p:cNvGrpSpPr>
            <a:grpSpLocks/>
          </p:cNvGrpSpPr>
          <p:nvPr/>
        </p:nvGrpSpPr>
        <p:grpSpPr bwMode="auto">
          <a:xfrm>
            <a:off x="1042988" y="1773238"/>
            <a:ext cx="4391025" cy="3014662"/>
            <a:chOff x="602681" y="1742799"/>
            <a:chExt cx="6185023" cy="3014925"/>
          </a:xfrm>
        </p:grpSpPr>
        <p:sp>
          <p:nvSpPr>
            <p:cNvPr id="13336" name="AutoShape 9"/>
            <p:cNvSpPr>
              <a:spLocks noChangeArrowheads="1"/>
            </p:cNvSpPr>
            <p:nvPr/>
          </p:nvSpPr>
          <p:spPr bwMode="auto">
            <a:xfrm>
              <a:off x="2305844" y="2100275"/>
              <a:ext cx="1587500" cy="2657449"/>
            </a:xfrm>
            <a:prstGeom prst="can">
              <a:avLst>
                <a:gd name="adj" fmla="val 12981"/>
              </a:avLst>
            </a:prstGeom>
            <a:solidFill>
              <a:srgbClr val="C00000"/>
            </a:solidFill>
            <a:ln w="9525">
              <a:solidFill>
                <a:schemeClr val="tx1"/>
              </a:solidFill>
              <a:round/>
              <a:headEnd/>
              <a:tailEnd/>
            </a:ln>
          </p:spPr>
          <p:txBody>
            <a:bodyPr wrap="none" anchor="ctr"/>
            <a:lstStyle/>
            <a:p>
              <a:endParaRPr lang="en-US"/>
            </a:p>
          </p:txBody>
        </p:sp>
        <p:sp>
          <p:nvSpPr>
            <p:cNvPr id="13337" name="AutoShape 10"/>
            <p:cNvSpPr>
              <a:spLocks noChangeArrowheads="1"/>
            </p:cNvSpPr>
            <p:nvPr/>
          </p:nvSpPr>
          <p:spPr bwMode="auto">
            <a:xfrm>
              <a:off x="3857626" y="2198687"/>
              <a:ext cx="2930078" cy="2559037"/>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p>
          </p:txBody>
        </p:sp>
        <p:sp>
          <p:nvSpPr>
            <p:cNvPr id="19460" name="Rectangle 11"/>
            <p:cNvSpPr>
              <a:spLocks noChangeArrowheads="1"/>
            </p:cNvSpPr>
            <p:nvPr/>
          </p:nvSpPr>
          <p:spPr bwMode="auto">
            <a:xfrm>
              <a:off x="3858427" y="2198451"/>
              <a:ext cx="44722" cy="2559273"/>
            </a:xfrm>
            <a:prstGeom prst="rect">
              <a:avLst/>
            </a:prstGeom>
            <a:solidFill>
              <a:schemeClr val="bg1">
                <a:lumMod val="65000"/>
              </a:schemeClr>
            </a:solidFill>
            <a:ln w="9525">
              <a:solidFill>
                <a:schemeClr val="tx1"/>
              </a:solidFill>
              <a:miter lim="800000"/>
              <a:headEnd/>
              <a:tailEnd/>
            </a:ln>
          </p:spPr>
          <p:txBody>
            <a:bodyPr wrap="none" anchor="ctr"/>
            <a:lstStyle/>
            <a:p>
              <a:pPr>
                <a:defRPr/>
              </a:pPr>
              <a:endParaRPr lang="en-US">
                <a:cs typeface="+mn-cs"/>
              </a:endParaRPr>
            </a:p>
          </p:txBody>
        </p:sp>
        <p:sp>
          <p:nvSpPr>
            <p:cNvPr id="13339" name="AutoShape 12"/>
            <p:cNvSpPr>
              <a:spLocks noChangeArrowheads="1"/>
            </p:cNvSpPr>
            <p:nvPr/>
          </p:nvSpPr>
          <p:spPr bwMode="auto">
            <a:xfrm>
              <a:off x="2573338" y="2927284"/>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3340" name="AutoShape 13"/>
            <p:cNvSpPr>
              <a:spLocks noChangeArrowheads="1"/>
            </p:cNvSpPr>
            <p:nvPr/>
          </p:nvSpPr>
          <p:spPr bwMode="auto">
            <a:xfrm>
              <a:off x="3362326" y="3034506"/>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3341" name="AutoShape 14"/>
            <p:cNvSpPr>
              <a:spLocks noChangeArrowheads="1"/>
            </p:cNvSpPr>
            <p:nvPr/>
          </p:nvSpPr>
          <p:spPr bwMode="auto">
            <a:xfrm>
              <a:off x="3024188" y="2854325"/>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3342" name="AutoShape 15"/>
            <p:cNvSpPr>
              <a:spLocks noChangeArrowheads="1"/>
            </p:cNvSpPr>
            <p:nvPr/>
          </p:nvSpPr>
          <p:spPr bwMode="auto">
            <a:xfrm>
              <a:off x="2789238" y="3271830"/>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3343" name="AutoShape 16"/>
            <p:cNvSpPr>
              <a:spLocks noChangeArrowheads="1"/>
            </p:cNvSpPr>
            <p:nvPr/>
          </p:nvSpPr>
          <p:spPr bwMode="auto">
            <a:xfrm>
              <a:off x="3302001" y="3476624"/>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3344" name="AutoShape 17"/>
            <p:cNvSpPr>
              <a:spLocks noChangeArrowheads="1"/>
            </p:cNvSpPr>
            <p:nvPr/>
          </p:nvSpPr>
          <p:spPr bwMode="auto">
            <a:xfrm>
              <a:off x="3146341" y="3868734"/>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3345" name="AutoShape 18"/>
            <p:cNvSpPr>
              <a:spLocks noChangeArrowheads="1"/>
            </p:cNvSpPr>
            <p:nvPr/>
          </p:nvSpPr>
          <p:spPr bwMode="auto">
            <a:xfrm>
              <a:off x="2789238" y="3702049"/>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3346" name="AutoShape 19"/>
            <p:cNvSpPr>
              <a:spLocks noChangeArrowheads="1"/>
            </p:cNvSpPr>
            <p:nvPr/>
          </p:nvSpPr>
          <p:spPr bwMode="auto">
            <a:xfrm>
              <a:off x="2789238" y="2510371"/>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3347" name="AutoShape 20"/>
            <p:cNvSpPr>
              <a:spLocks noChangeArrowheads="1"/>
            </p:cNvSpPr>
            <p:nvPr/>
          </p:nvSpPr>
          <p:spPr bwMode="auto">
            <a:xfrm>
              <a:off x="2573338" y="4294187"/>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3348" name="AutoShape 22"/>
            <p:cNvSpPr>
              <a:spLocks noChangeArrowheads="1"/>
            </p:cNvSpPr>
            <p:nvPr/>
          </p:nvSpPr>
          <p:spPr bwMode="auto">
            <a:xfrm>
              <a:off x="3278189" y="4325130"/>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grpSp>
          <p:nvGrpSpPr>
            <p:cNvPr id="13349" name="Group 1037"/>
            <p:cNvGrpSpPr>
              <a:grpSpLocks/>
            </p:cNvGrpSpPr>
            <p:nvPr/>
          </p:nvGrpSpPr>
          <p:grpSpPr bwMode="auto">
            <a:xfrm>
              <a:off x="602681" y="1742799"/>
              <a:ext cx="1204263" cy="553779"/>
              <a:chOff x="3896" y="1631"/>
              <a:chExt cx="628" cy="250"/>
            </a:xfrm>
          </p:grpSpPr>
          <p:sp>
            <p:nvSpPr>
              <p:cNvPr id="13354" name="Freeform 1039"/>
              <p:cNvSpPr>
                <a:spLocks/>
              </p:cNvSpPr>
              <p:nvPr/>
            </p:nvSpPr>
            <p:spPr bwMode="auto">
              <a:xfrm>
                <a:off x="3932" y="1749"/>
                <a:ext cx="211" cy="89"/>
              </a:xfrm>
              <a:custGeom>
                <a:avLst/>
                <a:gdLst>
                  <a:gd name="T0" fmla="*/ 0 w 632"/>
                  <a:gd name="T1" fmla="*/ 0 h 268"/>
                  <a:gd name="T2" fmla="*/ 0 w 632"/>
                  <a:gd name="T3" fmla="*/ 0 h 268"/>
                  <a:gd name="T4" fmla="*/ 0 w 632"/>
                  <a:gd name="T5" fmla="*/ 0 h 268"/>
                  <a:gd name="T6" fmla="*/ 0 w 632"/>
                  <a:gd name="T7" fmla="*/ 0 h 268"/>
                  <a:gd name="T8" fmla="*/ 0 w 632"/>
                  <a:gd name="T9" fmla="*/ 0 h 268"/>
                  <a:gd name="T10" fmla="*/ 0 w 632"/>
                  <a:gd name="T11" fmla="*/ 0 h 268"/>
                  <a:gd name="T12" fmla="*/ 0 w 632"/>
                  <a:gd name="T13" fmla="*/ 0 h 268"/>
                  <a:gd name="T14" fmla="*/ 0 w 632"/>
                  <a:gd name="T15" fmla="*/ 0 h 268"/>
                  <a:gd name="T16" fmla="*/ 0 w 632"/>
                  <a:gd name="T17" fmla="*/ 0 h 268"/>
                  <a:gd name="T18" fmla="*/ 0 w 632"/>
                  <a:gd name="T19" fmla="*/ 0 h 268"/>
                  <a:gd name="T20" fmla="*/ 0 w 632"/>
                  <a:gd name="T21" fmla="*/ 0 h 268"/>
                  <a:gd name="T22" fmla="*/ 0 w 632"/>
                  <a:gd name="T23" fmla="*/ 0 h 268"/>
                  <a:gd name="T24" fmla="*/ 0 w 632"/>
                  <a:gd name="T25" fmla="*/ 0 h 268"/>
                  <a:gd name="T26" fmla="*/ 0 w 632"/>
                  <a:gd name="T27" fmla="*/ 0 h 268"/>
                  <a:gd name="T28" fmla="*/ 0 w 632"/>
                  <a:gd name="T29" fmla="*/ 0 h 268"/>
                  <a:gd name="T30" fmla="*/ 0 w 632"/>
                  <a:gd name="T31" fmla="*/ 0 h 268"/>
                  <a:gd name="T32" fmla="*/ 0 w 632"/>
                  <a:gd name="T33" fmla="*/ 0 h 268"/>
                  <a:gd name="T34" fmla="*/ 0 w 632"/>
                  <a:gd name="T35" fmla="*/ 0 h 268"/>
                  <a:gd name="T36" fmla="*/ 0 w 632"/>
                  <a:gd name="T37" fmla="*/ 0 h 268"/>
                  <a:gd name="T38" fmla="*/ 0 w 632"/>
                  <a:gd name="T39" fmla="*/ 0 h 268"/>
                  <a:gd name="T40" fmla="*/ 0 w 632"/>
                  <a:gd name="T41" fmla="*/ 0 h 268"/>
                  <a:gd name="T42" fmla="*/ 0 w 632"/>
                  <a:gd name="T43" fmla="*/ 0 h 268"/>
                  <a:gd name="T44" fmla="*/ 0 w 632"/>
                  <a:gd name="T45" fmla="*/ 0 h 268"/>
                  <a:gd name="T46" fmla="*/ 0 w 632"/>
                  <a:gd name="T47" fmla="*/ 0 h 268"/>
                  <a:gd name="T48" fmla="*/ 0 w 632"/>
                  <a:gd name="T49" fmla="*/ 0 h 268"/>
                  <a:gd name="T50" fmla="*/ 0 w 632"/>
                  <a:gd name="T51" fmla="*/ 0 h 268"/>
                  <a:gd name="T52" fmla="*/ 0 w 632"/>
                  <a:gd name="T53" fmla="*/ 0 h 268"/>
                  <a:gd name="T54" fmla="*/ 0 w 632"/>
                  <a:gd name="T55" fmla="*/ 0 h 268"/>
                  <a:gd name="T56" fmla="*/ 0 w 632"/>
                  <a:gd name="T57" fmla="*/ 0 h 268"/>
                  <a:gd name="T58" fmla="*/ 0 w 632"/>
                  <a:gd name="T59" fmla="*/ 0 h 268"/>
                  <a:gd name="T60" fmla="*/ 0 w 632"/>
                  <a:gd name="T61" fmla="*/ 0 h 268"/>
                  <a:gd name="T62" fmla="*/ 0 w 632"/>
                  <a:gd name="T63" fmla="*/ 0 h 268"/>
                  <a:gd name="T64" fmla="*/ 0 w 632"/>
                  <a:gd name="T65" fmla="*/ 0 h 268"/>
                  <a:gd name="T66" fmla="*/ 0 w 632"/>
                  <a:gd name="T67" fmla="*/ 0 h 268"/>
                  <a:gd name="T68" fmla="*/ 0 w 632"/>
                  <a:gd name="T69" fmla="*/ 0 h 268"/>
                  <a:gd name="T70" fmla="*/ 0 w 632"/>
                  <a:gd name="T71" fmla="*/ 0 h 268"/>
                  <a:gd name="T72" fmla="*/ 0 w 632"/>
                  <a:gd name="T73" fmla="*/ 0 h 268"/>
                  <a:gd name="T74" fmla="*/ 0 w 632"/>
                  <a:gd name="T75" fmla="*/ 0 h 268"/>
                  <a:gd name="T76" fmla="*/ 0 w 632"/>
                  <a:gd name="T77" fmla="*/ 0 h 2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32"/>
                  <a:gd name="T118" fmla="*/ 0 h 268"/>
                  <a:gd name="T119" fmla="*/ 632 w 632"/>
                  <a:gd name="T120" fmla="*/ 268 h 26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32" h="268">
                    <a:moveTo>
                      <a:pt x="632" y="0"/>
                    </a:moveTo>
                    <a:lnTo>
                      <a:pt x="622" y="44"/>
                    </a:lnTo>
                    <a:lnTo>
                      <a:pt x="591" y="64"/>
                    </a:lnTo>
                    <a:lnTo>
                      <a:pt x="563" y="54"/>
                    </a:lnTo>
                    <a:lnTo>
                      <a:pt x="537" y="75"/>
                    </a:lnTo>
                    <a:lnTo>
                      <a:pt x="500" y="69"/>
                    </a:lnTo>
                    <a:lnTo>
                      <a:pt x="451" y="127"/>
                    </a:lnTo>
                    <a:lnTo>
                      <a:pt x="401" y="112"/>
                    </a:lnTo>
                    <a:lnTo>
                      <a:pt x="392" y="91"/>
                    </a:lnTo>
                    <a:lnTo>
                      <a:pt x="349" y="142"/>
                    </a:lnTo>
                    <a:lnTo>
                      <a:pt x="312" y="127"/>
                    </a:lnTo>
                    <a:lnTo>
                      <a:pt x="275" y="174"/>
                    </a:lnTo>
                    <a:lnTo>
                      <a:pt x="248" y="153"/>
                    </a:lnTo>
                    <a:lnTo>
                      <a:pt x="215" y="191"/>
                    </a:lnTo>
                    <a:lnTo>
                      <a:pt x="174" y="205"/>
                    </a:lnTo>
                    <a:lnTo>
                      <a:pt x="148" y="194"/>
                    </a:lnTo>
                    <a:lnTo>
                      <a:pt x="116" y="238"/>
                    </a:lnTo>
                    <a:lnTo>
                      <a:pt x="78" y="234"/>
                    </a:lnTo>
                    <a:lnTo>
                      <a:pt x="59" y="211"/>
                    </a:lnTo>
                    <a:lnTo>
                      <a:pt x="31" y="268"/>
                    </a:lnTo>
                    <a:lnTo>
                      <a:pt x="0" y="263"/>
                    </a:lnTo>
                    <a:lnTo>
                      <a:pt x="4" y="238"/>
                    </a:lnTo>
                    <a:lnTo>
                      <a:pt x="22" y="226"/>
                    </a:lnTo>
                    <a:lnTo>
                      <a:pt x="53" y="194"/>
                    </a:lnTo>
                    <a:lnTo>
                      <a:pt x="95" y="179"/>
                    </a:lnTo>
                    <a:lnTo>
                      <a:pt x="136" y="174"/>
                    </a:lnTo>
                    <a:lnTo>
                      <a:pt x="169" y="142"/>
                    </a:lnTo>
                    <a:lnTo>
                      <a:pt x="237" y="131"/>
                    </a:lnTo>
                    <a:lnTo>
                      <a:pt x="258" y="106"/>
                    </a:lnTo>
                    <a:lnTo>
                      <a:pt x="301" y="112"/>
                    </a:lnTo>
                    <a:lnTo>
                      <a:pt x="332" y="64"/>
                    </a:lnTo>
                    <a:lnTo>
                      <a:pt x="392" y="57"/>
                    </a:lnTo>
                    <a:lnTo>
                      <a:pt x="444" y="44"/>
                    </a:lnTo>
                    <a:lnTo>
                      <a:pt x="479" y="44"/>
                    </a:lnTo>
                    <a:lnTo>
                      <a:pt x="531" y="12"/>
                    </a:lnTo>
                    <a:lnTo>
                      <a:pt x="554" y="27"/>
                    </a:lnTo>
                    <a:lnTo>
                      <a:pt x="600" y="0"/>
                    </a:lnTo>
                    <a:lnTo>
                      <a:pt x="632" y="0"/>
                    </a:lnTo>
                    <a:close/>
                  </a:path>
                </a:pathLst>
              </a:custGeom>
              <a:solidFill>
                <a:srgbClr val="FFFFFF"/>
              </a:solidFill>
              <a:ln w="9525">
                <a:noFill/>
                <a:round/>
                <a:headEnd/>
                <a:tailEnd/>
              </a:ln>
            </p:spPr>
            <p:txBody>
              <a:bodyPr/>
              <a:lstStyle/>
              <a:p>
                <a:endParaRPr lang="fr-FR"/>
              </a:p>
            </p:txBody>
          </p:sp>
          <p:sp>
            <p:nvSpPr>
              <p:cNvPr id="13355" name="Freeform 1040"/>
              <p:cNvSpPr>
                <a:spLocks/>
              </p:cNvSpPr>
              <p:nvPr/>
            </p:nvSpPr>
            <p:spPr bwMode="auto">
              <a:xfrm>
                <a:off x="4369" y="1661"/>
                <a:ext cx="106" cy="49"/>
              </a:xfrm>
              <a:custGeom>
                <a:avLst/>
                <a:gdLst>
                  <a:gd name="T0" fmla="*/ 0 w 317"/>
                  <a:gd name="T1" fmla="*/ 0 h 147"/>
                  <a:gd name="T2" fmla="*/ 0 w 317"/>
                  <a:gd name="T3" fmla="*/ 0 h 147"/>
                  <a:gd name="T4" fmla="*/ 0 w 317"/>
                  <a:gd name="T5" fmla="*/ 0 h 147"/>
                  <a:gd name="T6" fmla="*/ 0 w 317"/>
                  <a:gd name="T7" fmla="*/ 0 h 147"/>
                  <a:gd name="T8" fmla="*/ 0 w 317"/>
                  <a:gd name="T9" fmla="*/ 0 h 147"/>
                  <a:gd name="T10" fmla="*/ 0 w 317"/>
                  <a:gd name="T11" fmla="*/ 0 h 147"/>
                  <a:gd name="T12" fmla="*/ 0 w 317"/>
                  <a:gd name="T13" fmla="*/ 0 h 147"/>
                  <a:gd name="T14" fmla="*/ 0 w 317"/>
                  <a:gd name="T15" fmla="*/ 0 h 147"/>
                  <a:gd name="T16" fmla="*/ 0 w 317"/>
                  <a:gd name="T17" fmla="*/ 0 h 147"/>
                  <a:gd name="T18" fmla="*/ 0 w 317"/>
                  <a:gd name="T19" fmla="*/ 0 h 147"/>
                  <a:gd name="T20" fmla="*/ 0 w 317"/>
                  <a:gd name="T21" fmla="*/ 0 h 147"/>
                  <a:gd name="T22" fmla="*/ 0 w 317"/>
                  <a:gd name="T23" fmla="*/ 0 h 147"/>
                  <a:gd name="T24" fmla="*/ 0 w 317"/>
                  <a:gd name="T25" fmla="*/ 0 h 147"/>
                  <a:gd name="T26" fmla="*/ 0 w 317"/>
                  <a:gd name="T27" fmla="*/ 0 h 147"/>
                  <a:gd name="T28" fmla="*/ 0 w 317"/>
                  <a:gd name="T29" fmla="*/ 0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7"/>
                  <a:gd name="T46" fmla="*/ 0 h 147"/>
                  <a:gd name="T47" fmla="*/ 317 w 317"/>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7" h="147">
                    <a:moveTo>
                      <a:pt x="43" y="95"/>
                    </a:moveTo>
                    <a:lnTo>
                      <a:pt x="0" y="120"/>
                    </a:lnTo>
                    <a:lnTo>
                      <a:pt x="0" y="147"/>
                    </a:lnTo>
                    <a:lnTo>
                      <a:pt x="64" y="130"/>
                    </a:lnTo>
                    <a:lnTo>
                      <a:pt x="106" y="95"/>
                    </a:lnTo>
                    <a:lnTo>
                      <a:pt x="175" y="95"/>
                    </a:lnTo>
                    <a:lnTo>
                      <a:pt x="223" y="58"/>
                    </a:lnTo>
                    <a:lnTo>
                      <a:pt x="285" y="29"/>
                    </a:lnTo>
                    <a:lnTo>
                      <a:pt x="317" y="0"/>
                    </a:lnTo>
                    <a:lnTo>
                      <a:pt x="205" y="40"/>
                    </a:lnTo>
                    <a:lnTo>
                      <a:pt x="186" y="62"/>
                    </a:lnTo>
                    <a:lnTo>
                      <a:pt x="131" y="68"/>
                    </a:lnTo>
                    <a:lnTo>
                      <a:pt x="83" y="87"/>
                    </a:lnTo>
                    <a:lnTo>
                      <a:pt x="43" y="95"/>
                    </a:lnTo>
                    <a:close/>
                  </a:path>
                </a:pathLst>
              </a:custGeom>
              <a:solidFill>
                <a:srgbClr val="FFFFFF"/>
              </a:solidFill>
              <a:ln w="9525">
                <a:noFill/>
                <a:round/>
                <a:headEnd/>
                <a:tailEnd/>
              </a:ln>
            </p:spPr>
            <p:txBody>
              <a:bodyPr/>
              <a:lstStyle/>
              <a:p>
                <a:endParaRPr lang="fr-FR"/>
              </a:p>
            </p:txBody>
          </p:sp>
          <p:sp>
            <p:nvSpPr>
              <p:cNvPr id="13356" name="Freeform 1041"/>
              <p:cNvSpPr>
                <a:spLocks/>
              </p:cNvSpPr>
              <p:nvPr/>
            </p:nvSpPr>
            <p:spPr bwMode="auto">
              <a:xfrm>
                <a:off x="3908" y="1842"/>
                <a:ext cx="10" cy="21"/>
              </a:xfrm>
              <a:custGeom>
                <a:avLst/>
                <a:gdLst>
                  <a:gd name="T0" fmla="*/ 0 w 31"/>
                  <a:gd name="T1" fmla="*/ 0 h 61"/>
                  <a:gd name="T2" fmla="*/ 0 w 31"/>
                  <a:gd name="T3" fmla="*/ 0 h 61"/>
                  <a:gd name="T4" fmla="*/ 0 w 31"/>
                  <a:gd name="T5" fmla="*/ 0 h 61"/>
                  <a:gd name="T6" fmla="*/ 0 w 31"/>
                  <a:gd name="T7" fmla="*/ 0 h 61"/>
                  <a:gd name="T8" fmla="*/ 0 w 31"/>
                  <a:gd name="T9" fmla="*/ 0 h 61"/>
                  <a:gd name="T10" fmla="*/ 0 w 31"/>
                  <a:gd name="T11" fmla="*/ 0 h 61"/>
                  <a:gd name="T12" fmla="*/ 0 60000 65536"/>
                  <a:gd name="T13" fmla="*/ 0 60000 65536"/>
                  <a:gd name="T14" fmla="*/ 0 60000 65536"/>
                  <a:gd name="T15" fmla="*/ 0 60000 65536"/>
                  <a:gd name="T16" fmla="*/ 0 60000 65536"/>
                  <a:gd name="T17" fmla="*/ 0 60000 65536"/>
                  <a:gd name="T18" fmla="*/ 0 w 31"/>
                  <a:gd name="T19" fmla="*/ 0 h 61"/>
                  <a:gd name="T20" fmla="*/ 31 w 31"/>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31" h="61">
                    <a:moveTo>
                      <a:pt x="25" y="0"/>
                    </a:moveTo>
                    <a:lnTo>
                      <a:pt x="0" y="21"/>
                    </a:lnTo>
                    <a:lnTo>
                      <a:pt x="6" y="61"/>
                    </a:lnTo>
                    <a:lnTo>
                      <a:pt x="31" y="53"/>
                    </a:lnTo>
                    <a:lnTo>
                      <a:pt x="25" y="0"/>
                    </a:lnTo>
                    <a:close/>
                  </a:path>
                </a:pathLst>
              </a:custGeom>
              <a:solidFill>
                <a:srgbClr val="FFFFFF"/>
              </a:solidFill>
              <a:ln w="9525">
                <a:noFill/>
                <a:round/>
                <a:headEnd/>
                <a:tailEnd/>
              </a:ln>
            </p:spPr>
            <p:txBody>
              <a:bodyPr/>
              <a:lstStyle/>
              <a:p>
                <a:endParaRPr lang="fr-FR"/>
              </a:p>
            </p:txBody>
          </p:sp>
          <p:sp>
            <p:nvSpPr>
              <p:cNvPr id="13357" name="Freeform 1042"/>
              <p:cNvSpPr>
                <a:spLocks/>
              </p:cNvSpPr>
              <p:nvPr/>
            </p:nvSpPr>
            <p:spPr bwMode="auto">
              <a:xfrm>
                <a:off x="3896" y="1870"/>
                <a:ext cx="7" cy="11"/>
              </a:xfrm>
              <a:custGeom>
                <a:avLst/>
                <a:gdLst>
                  <a:gd name="T0" fmla="*/ 0 w 22"/>
                  <a:gd name="T1" fmla="*/ 0 h 33"/>
                  <a:gd name="T2" fmla="*/ 0 w 22"/>
                  <a:gd name="T3" fmla="*/ 0 h 33"/>
                  <a:gd name="T4" fmla="*/ 0 w 22"/>
                  <a:gd name="T5" fmla="*/ 0 h 33"/>
                  <a:gd name="T6" fmla="*/ 0 w 22"/>
                  <a:gd name="T7" fmla="*/ 0 h 33"/>
                  <a:gd name="T8" fmla="*/ 0 w 22"/>
                  <a:gd name="T9" fmla="*/ 0 h 33"/>
                  <a:gd name="T10" fmla="*/ 0 w 22"/>
                  <a:gd name="T11" fmla="*/ 0 h 33"/>
                  <a:gd name="T12" fmla="*/ 0 60000 65536"/>
                  <a:gd name="T13" fmla="*/ 0 60000 65536"/>
                  <a:gd name="T14" fmla="*/ 0 60000 65536"/>
                  <a:gd name="T15" fmla="*/ 0 60000 65536"/>
                  <a:gd name="T16" fmla="*/ 0 60000 65536"/>
                  <a:gd name="T17" fmla="*/ 0 60000 65536"/>
                  <a:gd name="T18" fmla="*/ 0 w 22"/>
                  <a:gd name="T19" fmla="*/ 0 h 33"/>
                  <a:gd name="T20" fmla="*/ 22 w 2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2" h="33">
                    <a:moveTo>
                      <a:pt x="6" y="0"/>
                    </a:moveTo>
                    <a:lnTo>
                      <a:pt x="0" y="10"/>
                    </a:lnTo>
                    <a:lnTo>
                      <a:pt x="6" y="33"/>
                    </a:lnTo>
                    <a:lnTo>
                      <a:pt x="22" y="25"/>
                    </a:lnTo>
                    <a:lnTo>
                      <a:pt x="6" y="0"/>
                    </a:lnTo>
                    <a:close/>
                  </a:path>
                </a:pathLst>
              </a:custGeom>
              <a:solidFill>
                <a:srgbClr val="FFFFFF"/>
              </a:solidFill>
              <a:ln w="9525">
                <a:noFill/>
                <a:round/>
                <a:headEnd/>
                <a:tailEnd/>
              </a:ln>
            </p:spPr>
            <p:txBody>
              <a:bodyPr/>
              <a:lstStyle/>
              <a:p>
                <a:endParaRPr lang="fr-FR"/>
              </a:p>
            </p:txBody>
          </p:sp>
          <p:sp>
            <p:nvSpPr>
              <p:cNvPr id="13358" name="Freeform 1043"/>
              <p:cNvSpPr>
                <a:spLocks/>
              </p:cNvSpPr>
              <p:nvPr/>
            </p:nvSpPr>
            <p:spPr bwMode="auto">
              <a:xfrm>
                <a:off x="4515" y="1631"/>
                <a:ext cx="9" cy="9"/>
              </a:xfrm>
              <a:custGeom>
                <a:avLst/>
                <a:gdLst>
                  <a:gd name="T0" fmla="*/ 0 w 27"/>
                  <a:gd name="T1" fmla="*/ 0 h 27"/>
                  <a:gd name="T2" fmla="*/ 0 w 27"/>
                  <a:gd name="T3" fmla="*/ 0 h 27"/>
                  <a:gd name="T4" fmla="*/ 0 w 27"/>
                  <a:gd name="T5" fmla="*/ 0 h 27"/>
                  <a:gd name="T6" fmla="*/ 0 w 27"/>
                  <a:gd name="T7" fmla="*/ 0 h 27"/>
                  <a:gd name="T8" fmla="*/ 0 w 27"/>
                  <a:gd name="T9" fmla="*/ 0 h 27"/>
                  <a:gd name="T10" fmla="*/ 0 w 27"/>
                  <a:gd name="T11" fmla="*/ 0 h 27"/>
                  <a:gd name="T12" fmla="*/ 0 60000 65536"/>
                  <a:gd name="T13" fmla="*/ 0 60000 65536"/>
                  <a:gd name="T14" fmla="*/ 0 60000 65536"/>
                  <a:gd name="T15" fmla="*/ 0 60000 65536"/>
                  <a:gd name="T16" fmla="*/ 0 60000 65536"/>
                  <a:gd name="T17" fmla="*/ 0 60000 65536"/>
                  <a:gd name="T18" fmla="*/ 0 w 27"/>
                  <a:gd name="T19" fmla="*/ 0 h 27"/>
                  <a:gd name="T20" fmla="*/ 27 w 2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7" h="27">
                    <a:moveTo>
                      <a:pt x="27" y="0"/>
                    </a:moveTo>
                    <a:lnTo>
                      <a:pt x="3" y="0"/>
                    </a:lnTo>
                    <a:lnTo>
                      <a:pt x="0" y="27"/>
                    </a:lnTo>
                    <a:lnTo>
                      <a:pt x="27" y="11"/>
                    </a:lnTo>
                    <a:lnTo>
                      <a:pt x="27" y="0"/>
                    </a:lnTo>
                    <a:close/>
                  </a:path>
                </a:pathLst>
              </a:custGeom>
              <a:solidFill>
                <a:srgbClr val="FFFFFF"/>
              </a:solidFill>
              <a:ln w="9525">
                <a:noFill/>
                <a:round/>
                <a:headEnd/>
                <a:tailEnd/>
              </a:ln>
            </p:spPr>
            <p:txBody>
              <a:bodyPr/>
              <a:lstStyle/>
              <a:p>
                <a:endParaRPr lang="fr-FR"/>
              </a:p>
            </p:txBody>
          </p:sp>
        </p:grpSp>
        <p:pic>
          <p:nvPicPr>
            <p:cNvPr id="13350" name="Picture 27" descr="Gold_Key.bmp"/>
            <p:cNvPicPr>
              <a:picLocks noChangeAspect="1"/>
            </p:cNvPicPr>
            <p:nvPr/>
          </p:nvPicPr>
          <p:blipFill>
            <a:blip r:embed="rId3"/>
            <a:srcRect/>
            <a:stretch>
              <a:fillRect/>
            </a:stretch>
          </p:blipFill>
          <p:spPr bwMode="auto">
            <a:xfrm>
              <a:off x="3005138" y="4267150"/>
              <a:ext cx="176213" cy="285750"/>
            </a:xfrm>
            <a:prstGeom prst="rect">
              <a:avLst/>
            </a:prstGeom>
            <a:noFill/>
            <a:ln w="9525">
              <a:noFill/>
              <a:miter lim="800000"/>
              <a:headEnd/>
              <a:tailEnd/>
            </a:ln>
          </p:spPr>
        </p:pic>
        <p:pic>
          <p:nvPicPr>
            <p:cNvPr id="13351" name="Picture 27" descr="Gold_Key.bmp"/>
            <p:cNvPicPr>
              <a:picLocks noChangeAspect="1"/>
            </p:cNvPicPr>
            <p:nvPr/>
          </p:nvPicPr>
          <p:blipFill>
            <a:blip r:embed="rId3"/>
            <a:srcRect/>
            <a:stretch>
              <a:fillRect/>
            </a:stretch>
          </p:blipFill>
          <p:spPr bwMode="auto">
            <a:xfrm>
              <a:off x="3429794" y="3602830"/>
              <a:ext cx="176213" cy="285750"/>
            </a:xfrm>
            <a:prstGeom prst="rect">
              <a:avLst/>
            </a:prstGeom>
            <a:noFill/>
            <a:ln w="9525">
              <a:noFill/>
              <a:miter lim="800000"/>
              <a:headEnd/>
              <a:tailEnd/>
            </a:ln>
          </p:spPr>
        </p:pic>
        <p:pic>
          <p:nvPicPr>
            <p:cNvPr id="13352" name="Picture 29" descr="doorLock.jpg"/>
            <p:cNvPicPr>
              <a:picLocks noChangeAspect="1"/>
            </p:cNvPicPr>
            <p:nvPr/>
          </p:nvPicPr>
          <p:blipFill>
            <a:blip r:embed="rId4"/>
            <a:srcRect/>
            <a:stretch>
              <a:fillRect/>
            </a:stretch>
          </p:blipFill>
          <p:spPr bwMode="auto">
            <a:xfrm>
              <a:off x="3929063" y="2857500"/>
              <a:ext cx="500062" cy="344488"/>
            </a:xfrm>
            <a:prstGeom prst="rect">
              <a:avLst/>
            </a:prstGeom>
            <a:noFill/>
            <a:ln w="9525">
              <a:solidFill>
                <a:schemeClr val="tx1"/>
              </a:solidFill>
              <a:miter lim="800000"/>
              <a:headEnd/>
              <a:tailEnd/>
            </a:ln>
          </p:spPr>
        </p:pic>
        <p:pic>
          <p:nvPicPr>
            <p:cNvPr id="13353" name="Picture 29" descr="doorLock.jpg"/>
            <p:cNvPicPr>
              <a:picLocks noChangeAspect="1"/>
            </p:cNvPicPr>
            <p:nvPr/>
          </p:nvPicPr>
          <p:blipFill>
            <a:blip r:embed="rId4"/>
            <a:srcRect/>
            <a:stretch>
              <a:fillRect/>
            </a:stretch>
          </p:blipFill>
          <p:spPr bwMode="auto">
            <a:xfrm>
              <a:off x="3915409" y="3790949"/>
              <a:ext cx="500062" cy="344488"/>
            </a:xfrm>
            <a:prstGeom prst="rect">
              <a:avLst/>
            </a:prstGeom>
            <a:noFill/>
            <a:ln w="9525">
              <a:solidFill>
                <a:schemeClr val="tx1"/>
              </a:solidFill>
              <a:miter lim="800000"/>
              <a:headEnd/>
              <a:tailEnd/>
            </a:ln>
          </p:spPr>
        </p:pic>
      </p:grpSp>
      <p:grpSp>
        <p:nvGrpSpPr>
          <p:cNvPr id="13320" name="Group 144"/>
          <p:cNvGrpSpPr>
            <a:grpSpLocks/>
          </p:cNvGrpSpPr>
          <p:nvPr/>
        </p:nvGrpSpPr>
        <p:grpSpPr bwMode="auto">
          <a:xfrm>
            <a:off x="3911600" y="2359025"/>
            <a:ext cx="908050" cy="815975"/>
            <a:chOff x="6588125" y="2428869"/>
            <a:chExt cx="1341461" cy="1431932"/>
          </a:xfrm>
        </p:grpSpPr>
        <p:sp>
          <p:nvSpPr>
            <p:cNvPr id="13332" name="Oval 39"/>
            <p:cNvSpPr>
              <a:spLocks noChangeArrowheads="1"/>
            </p:cNvSpPr>
            <p:nvPr/>
          </p:nvSpPr>
          <p:spPr bwMode="auto">
            <a:xfrm>
              <a:off x="6588125" y="2428869"/>
              <a:ext cx="1341461" cy="1431932"/>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13333" name="AutoShape 40"/>
            <p:cNvSpPr>
              <a:spLocks noChangeArrowheads="1"/>
            </p:cNvSpPr>
            <p:nvPr/>
          </p:nvSpPr>
          <p:spPr bwMode="auto">
            <a:xfrm>
              <a:off x="7021513" y="2879725"/>
              <a:ext cx="144462" cy="144463"/>
            </a:xfrm>
            <a:prstGeom prst="flowChartConnector">
              <a:avLst/>
            </a:prstGeom>
            <a:solidFill>
              <a:schemeClr val="accent1"/>
            </a:solidFill>
            <a:ln w="9525">
              <a:solidFill>
                <a:schemeClr val="tx1"/>
              </a:solidFill>
              <a:round/>
              <a:headEnd/>
              <a:tailEnd/>
            </a:ln>
          </p:spPr>
          <p:txBody>
            <a:bodyPr wrap="none" anchor="ctr"/>
            <a:lstStyle/>
            <a:p>
              <a:endParaRPr lang="en-US"/>
            </a:p>
          </p:txBody>
        </p:sp>
        <p:sp>
          <p:nvSpPr>
            <p:cNvPr id="13334" name="AutoShape 41"/>
            <p:cNvSpPr>
              <a:spLocks noChangeArrowheads="1"/>
            </p:cNvSpPr>
            <p:nvPr/>
          </p:nvSpPr>
          <p:spPr bwMode="auto">
            <a:xfrm>
              <a:off x="7453313" y="2879725"/>
              <a:ext cx="144462" cy="144463"/>
            </a:xfrm>
            <a:prstGeom prst="flowChartConnector">
              <a:avLst/>
            </a:prstGeom>
            <a:solidFill>
              <a:schemeClr val="accent1"/>
            </a:solidFill>
            <a:ln w="9525">
              <a:solidFill>
                <a:schemeClr val="tx1"/>
              </a:solidFill>
              <a:round/>
              <a:headEnd/>
              <a:tailEnd/>
            </a:ln>
          </p:spPr>
          <p:txBody>
            <a:bodyPr wrap="none" anchor="ctr"/>
            <a:lstStyle/>
            <a:p>
              <a:endParaRPr lang="en-US"/>
            </a:p>
          </p:txBody>
        </p:sp>
        <p:sp>
          <p:nvSpPr>
            <p:cNvPr id="13335" name="AutoShape 42"/>
            <p:cNvSpPr>
              <a:spLocks noChangeArrowheads="1"/>
            </p:cNvSpPr>
            <p:nvPr/>
          </p:nvSpPr>
          <p:spPr bwMode="auto">
            <a:xfrm rot="5400000" flipV="1">
              <a:off x="7187407" y="3045619"/>
              <a:ext cx="169862" cy="647700"/>
            </a:xfrm>
            <a:prstGeom prst="moon">
              <a:avLst>
                <a:gd name="adj" fmla="val 58042"/>
              </a:avLst>
            </a:prstGeom>
            <a:solidFill>
              <a:schemeClr val="accent1"/>
            </a:solidFill>
            <a:ln w="9525">
              <a:solidFill>
                <a:schemeClr val="tx1"/>
              </a:solidFill>
              <a:miter lim="800000"/>
              <a:headEnd/>
              <a:tailEnd/>
            </a:ln>
          </p:spPr>
          <p:txBody>
            <a:bodyPr wrap="none" anchor="ctr"/>
            <a:lstStyle/>
            <a:p>
              <a:endParaRPr lang="en-US"/>
            </a:p>
          </p:txBody>
        </p:sp>
      </p:grpSp>
      <p:grpSp>
        <p:nvGrpSpPr>
          <p:cNvPr id="5" name="Group 1028"/>
          <p:cNvGrpSpPr>
            <a:grpSpLocks/>
          </p:cNvGrpSpPr>
          <p:nvPr/>
        </p:nvGrpSpPr>
        <p:grpSpPr bwMode="auto">
          <a:xfrm>
            <a:off x="992649" y="1722777"/>
            <a:ext cx="994000" cy="702636"/>
            <a:chOff x="1734" y="1090"/>
            <a:chExt cx="1184" cy="765"/>
          </a:xfrm>
          <a:effectLst>
            <a:outerShdw blurRad="50800" dist="38100" dir="2700000" algn="tl" rotWithShape="0">
              <a:prstClr val="black">
                <a:alpha val="40000"/>
              </a:prstClr>
            </a:outerShdw>
          </a:effectLst>
        </p:grpSpPr>
        <p:sp>
          <p:nvSpPr>
            <p:cNvPr id="39" name="Freeform 1029"/>
            <p:cNvSpPr>
              <a:spLocks/>
            </p:cNvSpPr>
            <p:nvPr/>
          </p:nvSpPr>
          <p:spPr bwMode="auto">
            <a:xfrm>
              <a:off x="1759" y="1091"/>
              <a:ext cx="1118" cy="603"/>
            </a:xfrm>
            <a:custGeom>
              <a:avLst/>
              <a:gdLst>
                <a:gd name="T0" fmla="*/ 0 w 3354"/>
                <a:gd name="T1" fmla="*/ 0 h 1807"/>
                <a:gd name="T2" fmla="*/ 0 w 3354"/>
                <a:gd name="T3" fmla="*/ 0 h 1807"/>
                <a:gd name="T4" fmla="*/ 0 w 3354"/>
                <a:gd name="T5" fmla="*/ 0 h 1807"/>
                <a:gd name="T6" fmla="*/ 0 w 3354"/>
                <a:gd name="T7" fmla="*/ 0 h 1807"/>
                <a:gd name="T8" fmla="*/ 0 w 3354"/>
                <a:gd name="T9" fmla="*/ 0 h 1807"/>
                <a:gd name="T10" fmla="*/ 0 w 3354"/>
                <a:gd name="T11" fmla="*/ 0 h 1807"/>
                <a:gd name="T12" fmla="*/ 0 w 3354"/>
                <a:gd name="T13" fmla="*/ 0 h 1807"/>
                <a:gd name="T14" fmla="*/ 0 w 3354"/>
                <a:gd name="T15" fmla="*/ 0 h 1807"/>
                <a:gd name="T16" fmla="*/ 0 w 3354"/>
                <a:gd name="T17" fmla="*/ 0 h 1807"/>
                <a:gd name="T18" fmla="*/ 0 w 3354"/>
                <a:gd name="T19" fmla="*/ 0 h 1807"/>
                <a:gd name="T20" fmla="*/ 0 w 3354"/>
                <a:gd name="T21" fmla="*/ 0 h 1807"/>
                <a:gd name="T22" fmla="*/ 0 w 3354"/>
                <a:gd name="T23" fmla="*/ 0 h 1807"/>
                <a:gd name="T24" fmla="*/ 0 w 3354"/>
                <a:gd name="T25" fmla="*/ 0 h 1807"/>
                <a:gd name="T26" fmla="*/ 0 w 3354"/>
                <a:gd name="T27" fmla="*/ 0 h 1807"/>
                <a:gd name="T28" fmla="*/ 0 w 3354"/>
                <a:gd name="T29" fmla="*/ 0 h 1807"/>
                <a:gd name="T30" fmla="*/ 0 w 3354"/>
                <a:gd name="T31" fmla="*/ 0 h 1807"/>
                <a:gd name="T32" fmla="*/ 0 w 3354"/>
                <a:gd name="T33" fmla="*/ 0 h 1807"/>
                <a:gd name="T34" fmla="*/ 0 w 3354"/>
                <a:gd name="T35" fmla="*/ 0 h 1807"/>
                <a:gd name="T36" fmla="*/ 0 w 3354"/>
                <a:gd name="T37" fmla="*/ 0 h 1807"/>
                <a:gd name="T38" fmla="*/ 0 w 3354"/>
                <a:gd name="T39" fmla="*/ 0 h 1807"/>
                <a:gd name="T40" fmla="*/ 0 w 3354"/>
                <a:gd name="T41" fmla="*/ 0 h 1807"/>
                <a:gd name="T42" fmla="*/ 0 w 3354"/>
                <a:gd name="T43" fmla="*/ 0 h 1807"/>
                <a:gd name="T44" fmla="*/ 0 w 3354"/>
                <a:gd name="T45" fmla="*/ 0 h 1807"/>
                <a:gd name="T46" fmla="*/ 0 w 3354"/>
                <a:gd name="T47" fmla="*/ 0 h 1807"/>
                <a:gd name="T48" fmla="*/ 0 w 3354"/>
                <a:gd name="T49" fmla="*/ 0 h 1807"/>
                <a:gd name="T50" fmla="*/ 0 w 3354"/>
                <a:gd name="T51" fmla="*/ 0 h 180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54"/>
                <a:gd name="T79" fmla="*/ 0 h 1807"/>
                <a:gd name="T80" fmla="*/ 3354 w 3354"/>
                <a:gd name="T81" fmla="*/ 1807 h 180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54" h="1807">
                  <a:moveTo>
                    <a:pt x="633" y="73"/>
                  </a:moveTo>
                  <a:lnTo>
                    <a:pt x="782" y="36"/>
                  </a:lnTo>
                  <a:lnTo>
                    <a:pt x="1043" y="0"/>
                  </a:lnTo>
                  <a:lnTo>
                    <a:pt x="1402" y="49"/>
                  </a:lnTo>
                  <a:lnTo>
                    <a:pt x="1677" y="135"/>
                  </a:lnTo>
                  <a:lnTo>
                    <a:pt x="2011" y="210"/>
                  </a:lnTo>
                  <a:lnTo>
                    <a:pt x="2200" y="321"/>
                  </a:lnTo>
                  <a:lnTo>
                    <a:pt x="2421" y="395"/>
                  </a:lnTo>
                  <a:lnTo>
                    <a:pt x="2755" y="432"/>
                  </a:lnTo>
                  <a:lnTo>
                    <a:pt x="3081" y="544"/>
                  </a:lnTo>
                  <a:lnTo>
                    <a:pt x="3354" y="741"/>
                  </a:lnTo>
                  <a:lnTo>
                    <a:pt x="3081" y="1013"/>
                  </a:lnTo>
                  <a:lnTo>
                    <a:pt x="2684" y="1199"/>
                  </a:lnTo>
                  <a:lnTo>
                    <a:pt x="2160" y="1285"/>
                  </a:lnTo>
                  <a:lnTo>
                    <a:pt x="1750" y="1297"/>
                  </a:lnTo>
                  <a:lnTo>
                    <a:pt x="1266" y="1483"/>
                  </a:lnTo>
                  <a:lnTo>
                    <a:pt x="844" y="1606"/>
                  </a:lnTo>
                  <a:lnTo>
                    <a:pt x="297" y="1807"/>
                  </a:lnTo>
                  <a:lnTo>
                    <a:pt x="73" y="1582"/>
                  </a:lnTo>
                  <a:lnTo>
                    <a:pt x="0" y="1224"/>
                  </a:lnTo>
                  <a:lnTo>
                    <a:pt x="36" y="853"/>
                  </a:lnTo>
                  <a:lnTo>
                    <a:pt x="124" y="544"/>
                  </a:lnTo>
                  <a:lnTo>
                    <a:pt x="272" y="309"/>
                  </a:lnTo>
                  <a:lnTo>
                    <a:pt x="471" y="149"/>
                  </a:lnTo>
                  <a:lnTo>
                    <a:pt x="633" y="73"/>
                  </a:lnTo>
                  <a:close/>
                </a:path>
              </a:pathLst>
            </a:custGeom>
            <a:solidFill>
              <a:srgbClr val="D26969"/>
            </a:solidFill>
            <a:ln w="9525">
              <a:noFill/>
              <a:round/>
              <a:headEnd/>
              <a:tailEnd/>
            </a:ln>
          </p:spPr>
          <p:txBody>
            <a:bodyPr/>
            <a:lstStyle/>
            <a:p>
              <a:pPr>
                <a:defRPr/>
              </a:pPr>
              <a:endParaRPr lang="en-US" dirty="0">
                <a:cs typeface="+mn-cs"/>
              </a:endParaRPr>
            </a:p>
          </p:txBody>
        </p:sp>
        <p:sp>
          <p:nvSpPr>
            <p:cNvPr id="40" name="Freeform 1030"/>
            <p:cNvSpPr>
              <a:spLocks/>
            </p:cNvSpPr>
            <p:nvPr/>
          </p:nvSpPr>
          <p:spPr bwMode="auto">
            <a:xfrm>
              <a:off x="1746" y="1128"/>
              <a:ext cx="1160" cy="722"/>
            </a:xfrm>
            <a:custGeom>
              <a:avLst/>
              <a:gdLst>
                <a:gd name="T0" fmla="*/ 0 w 3478"/>
                <a:gd name="T1" fmla="*/ 0 h 2166"/>
                <a:gd name="T2" fmla="*/ 0 w 3478"/>
                <a:gd name="T3" fmla="*/ 0 h 2166"/>
                <a:gd name="T4" fmla="*/ 0 w 3478"/>
                <a:gd name="T5" fmla="*/ 0 h 2166"/>
                <a:gd name="T6" fmla="*/ 0 w 3478"/>
                <a:gd name="T7" fmla="*/ 0 h 2166"/>
                <a:gd name="T8" fmla="*/ 0 w 3478"/>
                <a:gd name="T9" fmla="*/ 0 h 2166"/>
                <a:gd name="T10" fmla="*/ 0 w 3478"/>
                <a:gd name="T11" fmla="*/ 0 h 2166"/>
                <a:gd name="T12" fmla="*/ 0 w 3478"/>
                <a:gd name="T13" fmla="*/ 0 h 2166"/>
                <a:gd name="T14" fmla="*/ 0 w 3478"/>
                <a:gd name="T15" fmla="*/ 0 h 2166"/>
                <a:gd name="T16" fmla="*/ 0 w 3478"/>
                <a:gd name="T17" fmla="*/ 0 h 2166"/>
                <a:gd name="T18" fmla="*/ 0 w 3478"/>
                <a:gd name="T19" fmla="*/ 0 h 2166"/>
                <a:gd name="T20" fmla="*/ 0 w 3478"/>
                <a:gd name="T21" fmla="*/ 0 h 2166"/>
                <a:gd name="T22" fmla="*/ 0 w 3478"/>
                <a:gd name="T23" fmla="*/ 0 h 2166"/>
                <a:gd name="T24" fmla="*/ 0 w 3478"/>
                <a:gd name="T25" fmla="*/ 0 h 2166"/>
                <a:gd name="T26" fmla="*/ 0 w 3478"/>
                <a:gd name="T27" fmla="*/ 0 h 2166"/>
                <a:gd name="T28" fmla="*/ 0 w 3478"/>
                <a:gd name="T29" fmla="*/ 0 h 2166"/>
                <a:gd name="T30" fmla="*/ 0 w 3478"/>
                <a:gd name="T31" fmla="*/ 0 h 2166"/>
                <a:gd name="T32" fmla="*/ 0 w 3478"/>
                <a:gd name="T33" fmla="*/ 0 h 2166"/>
                <a:gd name="T34" fmla="*/ 0 w 3478"/>
                <a:gd name="T35" fmla="*/ 0 h 2166"/>
                <a:gd name="T36" fmla="*/ 0 w 3478"/>
                <a:gd name="T37" fmla="*/ 0 h 2166"/>
                <a:gd name="T38" fmla="*/ 0 w 3478"/>
                <a:gd name="T39" fmla="*/ 0 h 2166"/>
                <a:gd name="T40" fmla="*/ 0 w 3478"/>
                <a:gd name="T41" fmla="*/ 0 h 2166"/>
                <a:gd name="T42" fmla="*/ 0 w 3478"/>
                <a:gd name="T43" fmla="*/ 0 h 2166"/>
                <a:gd name="T44" fmla="*/ 0 w 3478"/>
                <a:gd name="T45" fmla="*/ 0 h 2166"/>
                <a:gd name="T46" fmla="*/ 0 w 3478"/>
                <a:gd name="T47" fmla="*/ 0 h 2166"/>
                <a:gd name="T48" fmla="*/ 0 w 3478"/>
                <a:gd name="T49" fmla="*/ 0 h 2166"/>
                <a:gd name="T50" fmla="*/ 0 w 3478"/>
                <a:gd name="T51" fmla="*/ 0 h 2166"/>
                <a:gd name="T52" fmla="*/ 0 w 3478"/>
                <a:gd name="T53" fmla="*/ 0 h 2166"/>
                <a:gd name="T54" fmla="*/ 0 w 3478"/>
                <a:gd name="T55" fmla="*/ 0 h 2166"/>
                <a:gd name="T56" fmla="*/ 0 w 3478"/>
                <a:gd name="T57" fmla="*/ 0 h 2166"/>
                <a:gd name="T58" fmla="*/ 0 w 3478"/>
                <a:gd name="T59" fmla="*/ 0 h 2166"/>
                <a:gd name="T60" fmla="*/ 0 w 3478"/>
                <a:gd name="T61" fmla="*/ 0 h 2166"/>
                <a:gd name="T62" fmla="*/ 0 w 3478"/>
                <a:gd name="T63" fmla="*/ 0 h 2166"/>
                <a:gd name="T64" fmla="*/ 0 w 3478"/>
                <a:gd name="T65" fmla="*/ 0 h 2166"/>
                <a:gd name="T66" fmla="*/ 0 w 3478"/>
                <a:gd name="T67" fmla="*/ 0 h 2166"/>
                <a:gd name="T68" fmla="*/ 0 w 3478"/>
                <a:gd name="T69" fmla="*/ 0 h 2166"/>
                <a:gd name="T70" fmla="*/ 0 w 3478"/>
                <a:gd name="T71" fmla="*/ 0 h 2166"/>
                <a:gd name="T72" fmla="*/ 0 w 3478"/>
                <a:gd name="T73" fmla="*/ 0 h 2166"/>
                <a:gd name="T74" fmla="*/ 0 w 3478"/>
                <a:gd name="T75" fmla="*/ 0 h 216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78"/>
                <a:gd name="T115" fmla="*/ 0 h 2166"/>
                <a:gd name="T116" fmla="*/ 3478 w 3478"/>
                <a:gd name="T117" fmla="*/ 2166 h 216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78" h="2166">
                  <a:moveTo>
                    <a:pt x="0" y="2029"/>
                  </a:moveTo>
                  <a:lnTo>
                    <a:pt x="0" y="2104"/>
                  </a:lnTo>
                  <a:lnTo>
                    <a:pt x="50" y="2166"/>
                  </a:lnTo>
                  <a:lnTo>
                    <a:pt x="136" y="2154"/>
                  </a:lnTo>
                  <a:lnTo>
                    <a:pt x="249" y="2055"/>
                  </a:lnTo>
                  <a:lnTo>
                    <a:pt x="398" y="1906"/>
                  </a:lnTo>
                  <a:lnTo>
                    <a:pt x="621" y="1697"/>
                  </a:lnTo>
                  <a:lnTo>
                    <a:pt x="806" y="1570"/>
                  </a:lnTo>
                  <a:lnTo>
                    <a:pt x="1056" y="1460"/>
                  </a:lnTo>
                  <a:lnTo>
                    <a:pt x="1850" y="1261"/>
                  </a:lnTo>
                  <a:lnTo>
                    <a:pt x="1962" y="1226"/>
                  </a:lnTo>
                  <a:lnTo>
                    <a:pt x="2149" y="1226"/>
                  </a:lnTo>
                  <a:lnTo>
                    <a:pt x="2338" y="1200"/>
                  </a:lnTo>
                  <a:lnTo>
                    <a:pt x="2859" y="1089"/>
                  </a:lnTo>
                  <a:lnTo>
                    <a:pt x="3244" y="940"/>
                  </a:lnTo>
                  <a:lnTo>
                    <a:pt x="3379" y="866"/>
                  </a:lnTo>
                  <a:lnTo>
                    <a:pt x="3454" y="817"/>
                  </a:lnTo>
                  <a:lnTo>
                    <a:pt x="3478" y="669"/>
                  </a:lnTo>
                  <a:lnTo>
                    <a:pt x="3169" y="879"/>
                  </a:lnTo>
                  <a:lnTo>
                    <a:pt x="2697" y="1064"/>
                  </a:lnTo>
                  <a:lnTo>
                    <a:pt x="2272" y="1114"/>
                  </a:lnTo>
                  <a:lnTo>
                    <a:pt x="1962" y="1089"/>
                  </a:lnTo>
                  <a:lnTo>
                    <a:pt x="1950" y="755"/>
                  </a:lnTo>
                  <a:lnTo>
                    <a:pt x="1925" y="533"/>
                  </a:lnTo>
                  <a:lnTo>
                    <a:pt x="1901" y="409"/>
                  </a:lnTo>
                  <a:lnTo>
                    <a:pt x="1850" y="248"/>
                  </a:lnTo>
                  <a:lnTo>
                    <a:pt x="1764" y="25"/>
                  </a:lnTo>
                  <a:lnTo>
                    <a:pt x="1677" y="0"/>
                  </a:lnTo>
                  <a:lnTo>
                    <a:pt x="1776" y="360"/>
                  </a:lnTo>
                  <a:lnTo>
                    <a:pt x="1813" y="792"/>
                  </a:lnTo>
                  <a:lnTo>
                    <a:pt x="1788" y="1138"/>
                  </a:lnTo>
                  <a:lnTo>
                    <a:pt x="1440" y="1275"/>
                  </a:lnTo>
                  <a:lnTo>
                    <a:pt x="1005" y="1398"/>
                  </a:lnTo>
                  <a:lnTo>
                    <a:pt x="609" y="1548"/>
                  </a:lnTo>
                  <a:lnTo>
                    <a:pt x="261" y="1771"/>
                  </a:lnTo>
                  <a:lnTo>
                    <a:pt x="74" y="1906"/>
                  </a:lnTo>
                  <a:lnTo>
                    <a:pt x="0" y="2029"/>
                  </a:lnTo>
                  <a:close/>
                </a:path>
              </a:pathLst>
            </a:custGeom>
            <a:solidFill>
              <a:srgbClr val="FFA9A9"/>
            </a:solidFill>
            <a:ln w="9525">
              <a:noFill/>
              <a:round/>
              <a:headEnd/>
              <a:tailEnd/>
            </a:ln>
          </p:spPr>
          <p:txBody>
            <a:bodyPr/>
            <a:lstStyle/>
            <a:p>
              <a:pPr>
                <a:defRPr/>
              </a:pPr>
              <a:endParaRPr lang="en-US" dirty="0">
                <a:cs typeface="+mn-cs"/>
              </a:endParaRPr>
            </a:p>
          </p:txBody>
        </p:sp>
        <p:sp>
          <p:nvSpPr>
            <p:cNvPr id="41" name="Freeform 1031"/>
            <p:cNvSpPr>
              <a:spLocks/>
            </p:cNvSpPr>
            <p:nvPr/>
          </p:nvSpPr>
          <p:spPr bwMode="auto">
            <a:xfrm>
              <a:off x="1941" y="1203"/>
              <a:ext cx="219" cy="185"/>
            </a:xfrm>
            <a:custGeom>
              <a:avLst/>
              <a:gdLst>
                <a:gd name="T0" fmla="*/ 0 w 657"/>
                <a:gd name="T1" fmla="*/ 0 h 556"/>
                <a:gd name="T2" fmla="*/ 0 w 657"/>
                <a:gd name="T3" fmla="*/ 0 h 556"/>
                <a:gd name="T4" fmla="*/ 0 w 657"/>
                <a:gd name="T5" fmla="*/ 0 h 556"/>
                <a:gd name="T6" fmla="*/ 0 w 657"/>
                <a:gd name="T7" fmla="*/ 0 h 556"/>
                <a:gd name="T8" fmla="*/ 0 w 657"/>
                <a:gd name="T9" fmla="*/ 0 h 556"/>
                <a:gd name="T10" fmla="*/ 0 w 657"/>
                <a:gd name="T11" fmla="*/ 0 h 556"/>
                <a:gd name="T12" fmla="*/ 0 w 657"/>
                <a:gd name="T13" fmla="*/ 0 h 556"/>
                <a:gd name="T14" fmla="*/ 0 w 657"/>
                <a:gd name="T15" fmla="*/ 0 h 556"/>
                <a:gd name="T16" fmla="*/ 0 w 657"/>
                <a:gd name="T17" fmla="*/ 0 h 556"/>
                <a:gd name="T18" fmla="*/ 0 w 657"/>
                <a:gd name="T19" fmla="*/ 0 h 556"/>
                <a:gd name="T20" fmla="*/ 0 w 657"/>
                <a:gd name="T21" fmla="*/ 0 h 556"/>
                <a:gd name="T22" fmla="*/ 0 w 657"/>
                <a:gd name="T23" fmla="*/ 0 h 556"/>
                <a:gd name="T24" fmla="*/ 0 w 657"/>
                <a:gd name="T25" fmla="*/ 0 h 556"/>
                <a:gd name="T26" fmla="*/ 0 w 657"/>
                <a:gd name="T27" fmla="*/ 0 h 556"/>
                <a:gd name="T28" fmla="*/ 0 w 657"/>
                <a:gd name="T29" fmla="*/ 0 h 556"/>
                <a:gd name="T30" fmla="*/ 0 w 657"/>
                <a:gd name="T31" fmla="*/ 0 h 556"/>
                <a:gd name="T32" fmla="*/ 0 w 657"/>
                <a:gd name="T33" fmla="*/ 0 h 556"/>
                <a:gd name="T34" fmla="*/ 0 w 657"/>
                <a:gd name="T35" fmla="*/ 0 h 556"/>
                <a:gd name="T36" fmla="*/ 0 w 657"/>
                <a:gd name="T37" fmla="*/ 0 h 556"/>
                <a:gd name="T38" fmla="*/ 0 w 657"/>
                <a:gd name="T39" fmla="*/ 0 h 5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57"/>
                <a:gd name="T61" fmla="*/ 0 h 556"/>
                <a:gd name="T62" fmla="*/ 657 w 657"/>
                <a:gd name="T63" fmla="*/ 556 h 5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57" h="556">
                  <a:moveTo>
                    <a:pt x="74" y="159"/>
                  </a:moveTo>
                  <a:lnTo>
                    <a:pt x="161" y="222"/>
                  </a:lnTo>
                  <a:lnTo>
                    <a:pt x="0" y="333"/>
                  </a:lnTo>
                  <a:lnTo>
                    <a:pt x="173" y="345"/>
                  </a:lnTo>
                  <a:lnTo>
                    <a:pt x="50" y="507"/>
                  </a:lnTo>
                  <a:lnTo>
                    <a:pt x="273" y="433"/>
                  </a:lnTo>
                  <a:lnTo>
                    <a:pt x="335" y="556"/>
                  </a:lnTo>
                  <a:lnTo>
                    <a:pt x="409" y="382"/>
                  </a:lnTo>
                  <a:lnTo>
                    <a:pt x="571" y="433"/>
                  </a:lnTo>
                  <a:lnTo>
                    <a:pt x="509" y="284"/>
                  </a:lnTo>
                  <a:lnTo>
                    <a:pt x="657" y="234"/>
                  </a:lnTo>
                  <a:lnTo>
                    <a:pt x="497" y="185"/>
                  </a:lnTo>
                  <a:lnTo>
                    <a:pt x="608" y="49"/>
                  </a:lnTo>
                  <a:lnTo>
                    <a:pt x="435" y="110"/>
                  </a:lnTo>
                  <a:lnTo>
                    <a:pt x="421" y="0"/>
                  </a:lnTo>
                  <a:lnTo>
                    <a:pt x="335" y="110"/>
                  </a:lnTo>
                  <a:lnTo>
                    <a:pt x="222" y="36"/>
                  </a:lnTo>
                  <a:lnTo>
                    <a:pt x="236" y="159"/>
                  </a:lnTo>
                  <a:lnTo>
                    <a:pt x="74" y="159"/>
                  </a:lnTo>
                  <a:close/>
                </a:path>
              </a:pathLst>
            </a:custGeom>
            <a:solidFill>
              <a:srgbClr val="FFA9A9"/>
            </a:solidFill>
            <a:ln w="9525">
              <a:noFill/>
              <a:round/>
              <a:headEnd/>
              <a:tailEnd/>
            </a:ln>
          </p:spPr>
          <p:txBody>
            <a:bodyPr/>
            <a:lstStyle/>
            <a:p>
              <a:pPr>
                <a:defRPr/>
              </a:pPr>
              <a:endParaRPr lang="en-US" dirty="0">
                <a:cs typeface="+mn-cs"/>
              </a:endParaRPr>
            </a:p>
          </p:txBody>
        </p:sp>
        <p:sp>
          <p:nvSpPr>
            <p:cNvPr id="42" name="Freeform 1032"/>
            <p:cNvSpPr>
              <a:spLocks/>
            </p:cNvSpPr>
            <p:nvPr/>
          </p:nvSpPr>
          <p:spPr bwMode="auto">
            <a:xfrm>
              <a:off x="2479" y="1235"/>
              <a:ext cx="203" cy="145"/>
            </a:xfrm>
            <a:custGeom>
              <a:avLst/>
              <a:gdLst>
                <a:gd name="T0" fmla="*/ 0 w 610"/>
                <a:gd name="T1" fmla="*/ 0 h 433"/>
                <a:gd name="T2" fmla="*/ 0 w 610"/>
                <a:gd name="T3" fmla="*/ 0 h 433"/>
                <a:gd name="T4" fmla="*/ 0 w 610"/>
                <a:gd name="T5" fmla="*/ 0 h 433"/>
                <a:gd name="T6" fmla="*/ 0 w 610"/>
                <a:gd name="T7" fmla="*/ 0 h 433"/>
                <a:gd name="T8" fmla="*/ 0 w 610"/>
                <a:gd name="T9" fmla="*/ 0 h 433"/>
                <a:gd name="T10" fmla="*/ 0 w 610"/>
                <a:gd name="T11" fmla="*/ 0 h 433"/>
                <a:gd name="T12" fmla="*/ 0 w 610"/>
                <a:gd name="T13" fmla="*/ 0 h 433"/>
                <a:gd name="T14" fmla="*/ 0 w 610"/>
                <a:gd name="T15" fmla="*/ 0 h 433"/>
                <a:gd name="T16" fmla="*/ 0 w 610"/>
                <a:gd name="T17" fmla="*/ 0 h 433"/>
                <a:gd name="T18" fmla="*/ 0 w 610"/>
                <a:gd name="T19" fmla="*/ 0 h 433"/>
                <a:gd name="T20" fmla="*/ 0 w 610"/>
                <a:gd name="T21" fmla="*/ 0 h 433"/>
                <a:gd name="T22" fmla="*/ 0 w 610"/>
                <a:gd name="T23" fmla="*/ 0 h 433"/>
                <a:gd name="T24" fmla="*/ 0 w 610"/>
                <a:gd name="T25" fmla="*/ 0 h 433"/>
                <a:gd name="T26" fmla="*/ 0 w 610"/>
                <a:gd name="T27" fmla="*/ 0 h 433"/>
                <a:gd name="T28" fmla="*/ 0 w 610"/>
                <a:gd name="T29" fmla="*/ 0 h 433"/>
                <a:gd name="T30" fmla="*/ 0 w 610"/>
                <a:gd name="T31" fmla="*/ 0 h 433"/>
                <a:gd name="T32" fmla="*/ 0 w 610"/>
                <a:gd name="T33" fmla="*/ 0 h 433"/>
                <a:gd name="T34" fmla="*/ 0 w 610"/>
                <a:gd name="T35" fmla="*/ 0 h 433"/>
                <a:gd name="T36" fmla="*/ 0 w 610"/>
                <a:gd name="T37" fmla="*/ 0 h 433"/>
                <a:gd name="T38" fmla="*/ 0 w 610"/>
                <a:gd name="T39" fmla="*/ 0 h 433"/>
                <a:gd name="T40" fmla="*/ 0 w 610"/>
                <a:gd name="T41" fmla="*/ 0 h 433"/>
                <a:gd name="T42" fmla="*/ 0 w 610"/>
                <a:gd name="T43" fmla="*/ 0 h 433"/>
                <a:gd name="T44" fmla="*/ 0 w 610"/>
                <a:gd name="T45" fmla="*/ 0 h 433"/>
                <a:gd name="T46" fmla="*/ 0 w 610"/>
                <a:gd name="T47" fmla="*/ 0 h 433"/>
                <a:gd name="T48" fmla="*/ 0 w 610"/>
                <a:gd name="T49" fmla="*/ 0 h 4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0"/>
                <a:gd name="T76" fmla="*/ 0 h 433"/>
                <a:gd name="T77" fmla="*/ 610 w 610"/>
                <a:gd name="T78" fmla="*/ 433 h 4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0" h="433">
                  <a:moveTo>
                    <a:pt x="0" y="136"/>
                  </a:moveTo>
                  <a:lnTo>
                    <a:pt x="102" y="186"/>
                  </a:lnTo>
                  <a:lnTo>
                    <a:pt x="13" y="271"/>
                  </a:lnTo>
                  <a:lnTo>
                    <a:pt x="140" y="260"/>
                  </a:lnTo>
                  <a:lnTo>
                    <a:pt x="114" y="358"/>
                  </a:lnTo>
                  <a:lnTo>
                    <a:pt x="236" y="335"/>
                  </a:lnTo>
                  <a:lnTo>
                    <a:pt x="261" y="433"/>
                  </a:lnTo>
                  <a:lnTo>
                    <a:pt x="325" y="347"/>
                  </a:lnTo>
                  <a:lnTo>
                    <a:pt x="399" y="421"/>
                  </a:lnTo>
                  <a:lnTo>
                    <a:pt x="425" y="321"/>
                  </a:lnTo>
                  <a:lnTo>
                    <a:pt x="524" y="358"/>
                  </a:lnTo>
                  <a:lnTo>
                    <a:pt x="499" y="271"/>
                  </a:lnTo>
                  <a:lnTo>
                    <a:pt x="610" y="271"/>
                  </a:lnTo>
                  <a:lnTo>
                    <a:pt x="524" y="198"/>
                  </a:lnTo>
                  <a:lnTo>
                    <a:pt x="587" y="161"/>
                  </a:lnTo>
                  <a:lnTo>
                    <a:pt x="472" y="161"/>
                  </a:lnTo>
                  <a:lnTo>
                    <a:pt x="499" y="98"/>
                  </a:lnTo>
                  <a:lnTo>
                    <a:pt x="399" y="112"/>
                  </a:lnTo>
                  <a:lnTo>
                    <a:pt x="362" y="112"/>
                  </a:lnTo>
                  <a:lnTo>
                    <a:pt x="288" y="98"/>
                  </a:lnTo>
                  <a:lnTo>
                    <a:pt x="199" y="75"/>
                  </a:lnTo>
                  <a:lnTo>
                    <a:pt x="25" y="0"/>
                  </a:lnTo>
                  <a:lnTo>
                    <a:pt x="102" y="98"/>
                  </a:lnTo>
                  <a:lnTo>
                    <a:pt x="0" y="136"/>
                  </a:lnTo>
                  <a:close/>
                </a:path>
              </a:pathLst>
            </a:custGeom>
            <a:solidFill>
              <a:srgbClr val="FFA9A9"/>
            </a:solidFill>
            <a:ln w="9525">
              <a:noFill/>
              <a:round/>
              <a:headEnd/>
              <a:tailEnd/>
            </a:ln>
          </p:spPr>
          <p:txBody>
            <a:bodyPr/>
            <a:lstStyle/>
            <a:p>
              <a:pPr>
                <a:defRPr/>
              </a:pPr>
              <a:endParaRPr lang="en-US" dirty="0">
                <a:cs typeface="+mn-cs"/>
              </a:endParaRPr>
            </a:p>
          </p:txBody>
        </p:sp>
        <p:sp>
          <p:nvSpPr>
            <p:cNvPr id="43" name="Freeform 1033"/>
            <p:cNvSpPr>
              <a:spLocks/>
            </p:cNvSpPr>
            <p:nvPr/>
          </p:nvSpPr>
          <p:spPr bwMode="auto">
            <a:xfrm>
              <a:off x="1734" y="1090"/>
              <a:ext cx="647" cy="765"/>
            </a:xfrm>
            <a:custGeom>
              <a:avLst/>
              <a:gdLst>
                <a:gd name="T0" fmla="*/ 0 w 1942"/>
                <a:gd name="T1" fmla="*/ 0 h 2296"/>
                <a:gd name="T2" fmla="*/ 0 w 1942"/>
                <a:gd name="T3" fmla="*/ 0 h 2296"/>
                <a:gd name="T4" fmla="*/ 0 w 1942"/>
                <a:gd name="T5" fmla="*/ 0 h 2296"/>
                <a:gd name="T6" fmla="*/ 0 w 1942"/>
                <a:gd name="T7" fmla="*/ 0 h 2296"/>
                <a:gd name="T8" fmla="*/ 0 w 1942"/>
                <a:gd name="T9" fmla="*/ 0 h 2296"/>
                <a:gd name="T10" fmla="*/ 0 w 1942"/>
                <a:gd name="T11" fmla="*/ 0 h 2296"/>
                <a:gd name="T12" fmla="*/ 0 w 1942"/>
                <a:gd name="T13" fmla="*/ 0 h 2296"/>
                <a:gd name="T14" fmla="*/ 0 w 1942"/>
                <a:gd name="T15" fmla="*/ 0 h 2296"/>
                <a:gd name="T16" fmla="*/ 0 w 1942"/>
                <a:gd name="T17" fmla="*/ 0 h 2296"/>
                <a:gd name="T18" fmla="*/ 0 w 1942"/>
                <a:gd name="T19" fmla="*/ 0 h 2296"/>
                <a:gd name="T20" fmla="*/ 0 w 1942"/>
                <a:gd name="T21" fmla="*/ 0 h 2296"/>
                <a:gd name="T22" fmla="*/ 0 w 1942"/>
                <a:gd name="T23" fmla="*/ 0 h 2296"/>
                <a:gd name="T24" fmla="*/ 0 w 1942"/>
                <a:gd name="T25" fmla="*/ 0 h 2296"/>
                <a:gd name="T26" fmla="*/ 0 w 1942"/>
                <a:gd name="T27" fmla="*/ 0 h 2296"/>
                <a:gd name="T28" fmla="*/ 0 w 1942"/>
                <a:gd name="T29" fmla="*/ 0 h 2296"/>
                <a:gd name="T30" fmla="*/ 0 w 1942"/>
                <a:gd name="T31" fmla="*/ 0 h 2296"/>
                <a:gd name="T32" fmla="*/ 0 w 1942"/>
                <a:gd name="T33" fmla="*/ 0 h 2296"/>
                <a:gd name="T34" fmla="*/ 0 w 1942"/>
                <a:gd name="T35" fmla="*/ 0 h 2296"/>
                <a:gd name="T36" fmla="*/ 0 w 1942"/>
                <a:gd name="T37" fmla="*/ 0 h 2296"/>
                <a:gd name="T38" fmla="*/ 0 w 1942"/>
                <a:gd name="T39" fmla="*/ 0 h 2296"/>
                <a:gd name="T40" fmla="*/ 0 w 1942"/>
                <a:gd name="T41" fmla="*/ 0 h 2296"/>
                <a:gd name="T42" fmla="*/ 0 w 1942"/>
                <a:gd name="T43" fmla="*/ 0 h 2296"/>
                <a:gd name="T44" fmla="*/ 0 w 1942"/>
                <a:gd name="T45" fmla="*/ 0 h 2296"/>
                <a:gd name="T46" fmla="*/ 0 w 1942"/>
                <a:gd name="T47" fmla="*/ 0 h 2296"/>
                <a:gd name="T48" fmla="*/ 0 w 1942"/>
                <a:gd name="T49" fmla="*/ 0 h 2296"/>
                <a:gd name="T50" fmla="*/ 0 w 1942"/>
                <a:gd name="T51" fmla="*/ 0 h 2296"/>
                <a:gd name="T52" fmla="*/ 0 w 1942"/>
                <a:gd name="T53" fmla="*/ 0 h 2296"/>
                <a:gd name="T54" fmla="*/ 0 w 1942"/>
                <a:gd name="T55" fmla="*/ 0 h 2296"/>
                <a:gd name="T56" fmla="*/ 0 w 1942"/>
                <a:gd name="T57" fmla="*/ 0 h 2296"/>
                <a:gd name="T58" fmla="*/ 0 w 1942"/>
                <a:gd name="T59" fmla="*/ 0 h 2296"/>
                <a:gd name="T60" fmla="*/ 0 w 1942"/>
                <a:gd name="T61" fmla="*/ 0 h 2296"/>
                <a:gd name="T62" fmla="*/ 0 w 1942"/>
                <a:gd name="T63" fmla="*/ 0 h 2296"/>
                <a:gd name="T64" fmla="*/ 0 w 1942"/>
                <a:gd name="T65" fmla="*/ 0 h 2296"/>
                <a:gd name="T66" fmla="*/ 0 w 1942"/>
                <a:gd name="T67" fmla="*/ 0 h 2296"/>
                <a:gd name="T68" fmla="*/ 0 w 1942"/>
                <a:gd name="T69" fmla="*/ 0 h 2296"/>
                <a:gd name="T70" fmla="*/ 0 w 1942"/>
                <a:gd name="T71" fmla="*/ 0 h 2296"/>
                <a:gd name="T72" fmla="*/ 0 w 1942"/>
                <a:gd name="T73" fmla="*/ 0 h 2296"/>
                <a:gd name="T74" fmla="*/ 0 w 1942"/>
                <a:gd name="T75" fmla="*/ 0 h 2296"/>
                <a:gd name="T76" fmla="*/ 0 w 1942"/>
                <a:gd name="T77" fmla="*/ 0 h 2296"/>
                <a:gd name="T78" fmla="*/ 0 w 1942"/>
                <a:gd name="T79" fmla="*/ 0 h 2296"/>
                <a:gd name="T80" fmla="*/ 0 w 1942"/>
                <a:gd name="T81" fmla="*/ 0 h 2296"/>
                <a:gd name="T82" fmla="*/ 0 w 1942"/>
                <a:gd name="T83" fmla="*/ 0 h 2296"/>
                <a:gd name="T84" fmla="*/ 0 w 1942"/>
                <a:gd name="T85" fmla="*/ 0 h 2296"/>
                <a:gd name="T86" fmla="*/ 0 w 1942"/>
                <a:gd name="T87" fmla="*/ 0 h 2296"/>
                <a:gd name="T88" fmla="*/ 0 w 1942"/>
                <a:gd name="T89" fmla="*/ 0 h 2296"/>
                <a:gd name="T90" fmla="*/ 0 w 1942"/>
                <a:gd name="T91" fmla="*/ 0 h 2296"/>
                <a:gd name="T92" fmla="*/ 0 w 1942"/>
                <a:gd name="T93" fmla="*/ 0 h 2296"/>
                <a:gd name="T94" fmla="*/ 0 w 1942"/>
                <a:gd name="T95" fmla="*/ 0 h 2296"/>
                <a:gd name="T96" fmla="*/ 0 w 1942"/>
                <a:gd name="T97" fmla="*/ 0 h 2296"/>
                <a:gd name="T98" fmla="*/ 0 w 1942"/>
                <a:gd name="T99" fmla="*/ 0 h 229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942"/>
                <a:gd name="T151" fmla="*/ 0 h 2296"/>
                <a:gd name="T152" fmla="*/ 1942 w 1942"/>
                <a:gd name="T153" fmla="*/ 2296 h 229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942" h="2296">
                  <a:moveTo>
                    <a:pt x="769" y="50"/>
                  </a:moveTo>
                  <a:lnTo>
                    <a:pt x="638" y="117"/>
                  </a:lnTo>
                  <a:lnTo>
                    <a:pt x="491" y="218"/>
                  </a:lnTo>
                  <a:lnTo>
                    <a:pt x="566" y="269"/>
                  </a:lnTo>
                  <a:lnTo>
                    <a:pt x="337" y="414"/>
                  </a:lnTo>
                  <a:lnTo>
                    <a:pt x="469" y="444"/>
                  </a:lnTo>
                  <a:lnTo>
                    <a:pt x="271" y="569"/>
                  </a:lnTo>
                  <a:lnTo>
                    <a:pt x="424" y="582"/>
                  </a:lnTo>
                  <a:lnTo>
                    <a:pt x="234" y="722"/>
                  </a:lnTo>
                  <a:lnTo>
                    <a:pt x="387" y="713"/>
                  </a:lnTo>
                  <a:lnTo>
                    <a:pt x="184" y="882"/>
                  </a:lnTo>
                  <a:lnTo>
                    <a:pt x="359" y="860"/>
                  </a:lnTo>
                  <a:lnTo>
                    <a:pt x="175" y="1043"/>
                  </a:lnTo>
                  <a:lnTo>
                    <a:pt x="344" y="991"/>
                  </a:lnTo>
                  <a:lnTo>
                    <a:pt x="169" y="1224"/>
                  </a:lnTo>
                  <a:lnTo>
                    <a:pt x="367" y="1144"/>
                  </a:lnTo>
                  <a:lnTo>
                    <a:pt x="206" y="1406"/>
                  </a:lnTo>
                  <a:lnTo>
                    <a:pt x="404" y="1305"/>
                  </a:lnTo>
                  <a:lnTo>
                    <a:pt x="307" y="1591"/>
                  </a:lnTo>
                  <a:lnTo>
                    <a:pt x="512" y="1393"/>
                  </a:lnTo>
                  <a:lnTo>
                    <a:pt x="499" y="1634"/>
                  </a:lnTo>
                  <a:lnTo>
                    <a:pt x="659" y="1421"/>
                  </a:lnTo>
                  <a:lnTo>
                    <a:pt x="710" y="1610"/>
                  </a:lnTo>
                  <a:lnTo>
                    <a:pt x="806" y="1399"/>
                  </a:lnTo>
                  <a:lnTo>
                    <a:pt x="866" y="1568"/>
                  </a:lnTo>
                  <a:lnTo>
                    <a:pt x="944" y="1349"/>
                  </a:lnTo>
                  <a:lnTo>
                    <a:pt x="1032" y="1507"/>
                  </a:lnTo>
                  <a:lnTo>
                    <a:pt x="1085" y="1298"/>
                  </a:lnTo>
                  <a:lnTo>
                    <a:pt x="1215" y="1444"/>
                  </a:lnTo>
                  <a:lnTo>
                    <a:pt x="1215" y="1233"/>
                  </a:lnTo>
                  <a:lnTo>
                    <a:pt x="1384" y="1399"/>
                  </a:lnTo>
                  <a:lnTo>
                    <a:pt x="1326" y="1129"/>
                  </a:lnTo>
                  <a:lnTo>
                    <a:pt x="1546" y="1320"/>
                  </a:lnTo>
                  <a:lnTo>
                    <a:pt x="1428" y="1020"/>
                  </a:lnTo>
                  <a:lnTo>
                    <a:pt x="1676" y="1188"/>
                  </a:lnTo>
                  <a:lnTo>
                    <a:pt x="1515" y="904"/>
                  </a:lnTo>
                  <a:lnTo>
                    <a:pt x="1758" y="976"/>
                  </a:lnTo>
                  <a:lnTo>
                    <a:pt x="1611" y="771"/>
                  </a:lnTo>
                  <a:lnTo>
                    <a:pt x="1782" y="771"/>
                  </a:lnTo>
                  <a:lnTo>
                    <a:pt x="1663" y="649"/>
                  </a:lnTo>
                  <a:lnTo>
                    <a:pt x="1786" y="625"/>
                  </a:lnTo>
                  <a:lnTo>
                    <a:pt x="1685" y="511"/>
                  </a:lnTo>
                  <a:lnTo>
                    <a:pt x="1764" y="474"/>
                  </a:lnTo>
                  <a:lnTo>
                    <a:pt x="1676" y="401"/>
                  </a:lnTo>
                  <a:lnTo>
                    <a:pt x="1721" y="313"/>
                  </a:lnTo>
                  <a:lnTo>
                    <a:pt x="1626" y="298"/>
                  </a:lnTo>
                  <a:lnTo>
                    <a:pt x="1656" y="196"/>
                  </a:lnTo>
                  <a:lnTo>
                    <a:pt x="1501" y="203"/>
                  </a:lnTo>
                  <a:lnTo>
                    <a:pt x="1575" y="108"/>
                  </a:lnTo>
                  <a:lnTo>
                    <a:pt x="1371" y="153"/>
                  </a:lnTo>
                  <a:lnTo>
                    <a:pt x="1399" y="35"/>
                  </a:lnTo>
                  <a:lnTo>
                    <a:pt x="1268" y="56"/>
                  </a:lnTo>
                  <a:lnTo>
                    <a:pt x="1106" y="0"/>
                  </a:lnTo>
                  <a:lnTo>
                    <a:pt x="1363" y="0"/>
                  </a:lnTo>
                  <a:lnTo>
                    <a:pt x="1532" y="29"/>
                  </a:lnTo>
                  <a:lnTo>
                    <a:pt x="1639" y="65"/>
                  </a:lnTo>
                  <a:lnTo>
                    <a:pt x="1721" y="117"/>
                  </a:lnTo>
                  <a:lnTo>
                    <a:pt x="1782" y="209"/>
                  </a:lnTo>
                  <a:lnTo>
                    <a:pt x="1832" y="332"/>
                  </a:lnTo>
                  <a:lnTo>
                    <a:pt x="1883" y="524"/>
                  </a:lnTo>
                  <a:lnTo>
                    <a:pt x="1913" y="707"/>
                  </a:lnTo>
                  <a:lnTo>
                    <a:pt x="1933" y="895"/>
                  </a:lnTo>
                  <a:lnTo>
                    <a:pt x="1942" y="1065"/>
                  </a:lnTo>
                  <a:lnTo>
                    <a:pt x="1933" y="1233"/>
                  </a:lnTo>
                  <a:lnTo>
                    <a:pt x="1913" y="1326"/>
                  </a:lnTo>
                  <a:lnTo>
                    <a:pt x="1883" y="1371"/>
                  </a:lnTo>
                  <a:lnTo>
                    <a:pt x="1795" y="1429"/>
                  </a:lnTo>
                  <a:lnTo>
                    <a:pt x="1727" y="1466"/>
                  </a:lnTo>
                  <a:lnTo>
                    <a:pt x="1589" y="1503"/>
                  </a:lnTo>
                  <a:lnTo>
                    <a:pt x="1421" y="1537"/>
                  </a:lnTo>
                  <a:lnTo>
                    <a:pt x="1026" y="1604"/>
                  </a:lnTo>
                  <a:lnTo>
                    <a:pt x="820" y="1656"/>
                  </a:lnTo>
                  <a:lnTo>
                    <a:pt x="667" y="1727"/>
                  </a:lnTo>
                  <a:lnTo>
                    <a:pt x="512" y="1824"/>
                  </a:lnTo>
                  <a:lnTo>
                    <a:pt x="359" y="1975"/>
                  </a:lnTo>
                  <a:lnTo>
                    <a:pt x="257" y="2094"/>
                  </a:lnTo>
                  <a:lnTo>
                    <a:pt x="169" y="2158"/>
                  </a:lnTo>
                  <a:lnTo>
                    <a:pt x="102" y="2180"/>
                  </a:lnTo>
                  <a:lnTo>
                    <a:pt x="65" y="2173"/>
                  </a:lnTo>
                  <a:lnTo>
                    <a:pt x="65" y="2210"/>
                  </a:lnTo>
                  <a:lnTo>
                    <a:pt x="102" y="2246"/>
                  </a:lnTo>
                  <a:lnTo>
                    <a:pt x="206" y="2246"/>
                  </a:lnTo>
                  <a:lnTo>
                    <a:pt x="124" y="2296"/>
                  </a:lnTo>
                  <a:lnTo>
                    <a:pt x="74" y="2296"/>
                  </a:lnTo>
                  <a:lnTo>
                    <a:pt x="37" y="2274"/>
                  </a:lnTo>
                  <a:lnTo>
                    <a:pt x="22" y="2238"/>
                  </a:lnTo>
                  <a:lnTo>
                    <a:pt x="22" y="2186"/>
                  </a:lnTo>
                  <a:lnTo>
                    <a:pt x="50" y="2078"/>
                  </a:lnTo>
                  <a:lnTo>
                    <a:pt x="65" y="1961"/>
                  </a:lnTo>
                  <a:lnTo>
                    <a:pt x="59" y="1824"/>
                  </a:lnTo>
                  <a:lnTo>
                    <a:pt x="22" y="1487"/>
                  </a:lnTo>
                  <a:lnTo>
                    <a:pt x="0" y="1216"/>
                  </a:lnTo>
                  <a:lnTo>
                    <a:pt x="0" y="991"/>
                  </a:lnTo>
                  <a:lnTo>
                    <a:pt x="37" y="771"/>
                  </a:lnTo>
                  <a:lnTo>
                    <a:pt x="102" y="575"/>
                  </a:lnTo>
                  <a:lnTo>
                    <a:pt x="220" y="387"/>
                  </a:lnTo>
                  <a:lnTo>
                    <a:pt x="359" y="240"/>
                  </a:lnTo>
                  <a:lnTo>
                    <a:pt x="557" y="123"/>
                  </a:lnTo>
                  <a:lnTo>
                    <a:pt x="667" y="80"/>
                  </a:lnTo>
                  <a:lnTo>
                    <a:pt x="769" y="50"/>
                  </a:lnTo>
                  <a:close/>
                </a:path>
              </a:pathLst>
            </a:custGeom>
            <a:solidFill>
              <a:srgbClr val="000000"/>
            </a:solidFill>
            <a:ln w="9525">
              <a:noFill/>
              <a:round/>
              <a:headEnd/>
              <a:tailEnd/>
            </a:ln>
          </p:spPr>
          <p:txBody>
            <a:bodyPr/>
            <a:lstStyle/>
            <a:p>
              <a:pPr>
                <a:defRPr/>
              </a:pPr>
              <a:endParaRPr lang="en-US" dirty="0">
                <a:cs typeface="+mn-cs"/>
              </a:endParaRPr>
            </a:p>
          </p:txBody>
        </p:sp>
        <p:sp>
          <p:nvSpPr>
            <p:cNvPr id="44" name="Freeform 1034"/>
            <p:cNvSpPr>
              <a:spLocks/>
            </p:cNvSpPr>
            <p:nvPr/>
          </p:nvSpPr>
          <p:spPr bwMode="auto">
            <a:xfrm>
              <a:off x="1754" y="1579"/>
              <a:ext cx="537" cy="276"/>
            </a:xfrm>
            <a:custGeom>
              <a:avLst/>
              <a:gdLst>
                <a:gd name="T0" fmla="*/ 0 w 1612"/>
                <a:gd name="T1" fmla="*/ 0 h 830"/>
                <a:gd name="T2" fmla="*/ 0 w 1612"/>
                <a:gd name="T3" fmla="*/ 0 h 830"/>
                <a:gd name="T4" fmla="*/ 0 w 1612"/>
                <a:gd name="T5" fmla="*/ 0 h 830"/>
                <a:gd name="T6" fmla="*/ 0 w 1612"/>
                <a:gd name="T7" fmla="*/ 0 h 830"/>
                <a:gd name="T8" fmla="*/ 0 w 1612"/>
                <a:gd name="T9" fmla="*/ 0 h 830"/>
                <a:gd name="T10" fmla="*/ 0 w 1612"/>
                <a:gd name="T11" fmla="*/ 0 h 830"/>
                <a:gd name="T12" fmla="*/ 0 w 1612"/>
                <a:gd name="T13" fmla="*/ 0 h 830"/>
                <a:gd name="T14" fmla="*/ 0 w 1612"/>
                <a:gd name="T15" fmla="*/ 0 h 830"/>
                <a:gd name="T16" fmla="*/ 0 w 1612"/>
                <a:gd name="T17" fmla="*/ 0 h 830"/>
                <a:gd name="T18" fmla="*/ 0 w 1612"/>
                <a:gd name="T19" fmla="*/ 0 h 830"/>
                <a:gd name="T20" fmla="*/ 0 w 1612"/>
                <a:gd name="T21" fmla="*/ 0 h 830"/>
                <a:gd name="T22" fmla="*/ 0 w 1612"/>
                <a:gd name="T23" fmla="*/ 0 h 830"/>
                <a:gd name="T24" fmla="*/ 0 w 1612"/>
                <a:gd name="T25" fmla="*/ 0 h 830"/>
                <a:gd name="T26" fmla="*/ 0 w 1612"/>
                <a:gd name="T27" fmla="*/ 0 h 830"/>
                <a:gd name="T28" fmla="*/ 0 w 1612"/>
                <a:gd name="T29" fmla="*/ 0 h 830"/>
                <a:gd name="T30" fmla="*/ 0 w 1612"/>
                <a:gd name="T31" fmla="*/ 0 h 830"/>
                <a:gd name="T32" fmla="*/ 0 w 1612"/>
                <a:gd name="T33" fmla="*/ 0 h 830"/>
                <a:gd name="T34" fmla="*/ 0 w 1612"/>
                <a:gd name="T35" fmla="*/ 0 h 830"/>
                <a:gd name="T36" fmla="*/ 0 w 1612"/>
                <a:gd name="T37" fmla="*/ 0 h 830"/>
                <a:gd name="T38" fmla="*/ 0 w 1612"/>
                <a:gd name="T39" fmla="*/ 0 h 830"/>
                <a:gd name="T40" fmla="*/ 0 w 1612"/>
                <a:gd name="T41" fmla="*/ 0 h 830"/>
                <a:gd name="T42" fmla="*/ 0 w 1612"/>
                <a:gd name="T43" fmla="*/ 0 h 830"/>
                <a:gd name="T44" fmla="*/ 0 w 1612"/>
                <a:gd name="T45" fmla="*/ 0 h 830"/>
                <a:gd name="T46" fmla="*/ 0 w 1612"/>
                <a:gd name="T47" fmla="*/ 0 h 8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12"/>
                <a:gd name="T73" fmla="*/ 0 h 830"/>
                <a:gd name="T74" fmla="*/ 1612 w 1612"/>
                <a:gd name="T75" fmla="*/ 830 h 8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12" h="830">
                  <a:moveTo>
                    <a:pt x="52" y="830"/>
                  </a:moveTo>
                  <a:lnTo>
                    <a:pt x="88" y="824"/>
                  </a:lnTo>
                  <a:lnTo>
                    <a:pt x="168" y="772"/>
                  </a:lnTo>
                  <a:lnTo>
                    <a:pt x="263" y="692"/>
                  </a:lnTo>
                  <a:lnTo>
                    <a:pt x="388" y="569"/>
                  </a:lnTo>
                  <a:lnTo>
                    <a:pt x="572" y="394"/>
                  </a:lnTo>
                  <a:lnTo>
                    <a:pt x="688" y="304"/>
                  </a:lnTo>
                  <a:lnTo>
                    <a:pt x="798" y="226"/>
                  </a:lnTo>
                  <a:lnTo>
                    <a:pt x="908" y="181"/>
                  </a:lnTo>
                  <a:lnTo>
                    <a:pt x="1055" y="151"/>
                  </a:lnTo>
                  <a:lnTo>
                    <a:pt x="1224" y="108"/>
                  </a:lnTo>
                  <a:lnTo>
                    <a:pt x="1450" y="65"/>
                  </a:lnTo>
                  <a:lnTo>
                    <a:pt x="1612" y="0"/>
                  </a:lnTo>
                  <a:lnTo>
                    <a:pt x="1092" y="116"/>
                  </a:lnTo>
                  <a:lnTo>
                    <a:pt x="848" y="175"/>
                  </a:lnTo>
                  <a:lnTo>
                    <a:pt x="704" y="239"/>
                  </a:lnTo>
                  <a:lnTo>
                    <a:pt x="520" y="371"/>
                  </a:lnTo>
                  <a:lnTo>
                    <a:pt x="352" y="547"/>
                  </a:lnTo>
                  <a:lnTo>
                    <a:pt x="212" y="698"/>
                  </a:lnTo>
                  <a:lnTo>
                    <a:pt x="110" y="766"/>
                  </a:lnTo>
                  <a:lnTo>
                    <a:pt x="43" y="780"/>
                  </a:lnTo>
                  <a:lnTo>
                    <a:pt x="0" y="772"/>
                  </a:lnTo>
                  <a:lnTo>
                    <a:pt x="52" y="830"/>
                  </a:lnTo>
                  <a:close/>
                </a:path>
              </a:pathLst>
            </a:custGeom>
            <a:solidFill>
              <a:srgbClr val="000000"/>
            </a:solidFill>
            <a:ln w="9525">
              <a:noFill/>
              <a:round/>
              <a:headEnd/>
              <a:tailEnd/>
            </a:ln>
          </p:spPr>
          <p:txBody>
            <a:bodyPr/>
            <a:lstStyle/>
            <a:p>
              <a:pPr>
                <a:defRPr/>
              </a:pPr>
              <a:endParaRPr lang="en-US" dirty="0">
                <a:cs typeface="+mn-cs"/>
              </a:endParaRPr>
            </a:p>
          </p:txBody>
        </p:sp>
        <p:sp>
          <p:nvSpPr>
            <p:cNvPr id="45" name="Freeform 1035"/>
            <p:cNvSpPr>
              <a:spLocks/>
            </p:cNvSpPr>
            <p:nvPr/>
          </p:nvSpPr>
          <p:spPr bwMode="auto">
            <a:xfrm>
              <a:off x="2332" y="1136"/>
              <a:ext cx="586" cy="387"/>
            </a:xfrm>
            <a:custGeom>
              <a:avLst/>
              <a:gdLst>
                <a:gd name="T0" fmla="*/ 0 w 1757"/>
                <a:gd name="T1" fmla="*/ 0 h 1159"/>
                <a:gd name="T2" fmla="*/ 0 w 1757"/>
                <a:gd name="T3" fmla="*/ 0 h 1159"/>
                <a:gd name="T4" fmla="*/ 0 w 1757"/>
                <a:gd name="T5" fmla="*/ 0 h 1159"/>
                <a:gd name="T6" fmla="*/ 0 w 1757"/>
                <a:gd name="T7" fmla="*/ 0 h 1159"/>
                <a:gd name="T8" fmla="*/ 0 w 1757"/>
                <a:gd name="T9" fmla="*/ 0 h 1159"/>
                <a:gd name="T10" fmla="*/ 0 w 1757"/>
                <a:gd name="T11" fmla="*/ 0 h 1159"/>
                <a:gd name="T12" fmla="*/ 0 w 1757"/>
                <a:gd name="T13" fmla="*/ 0 h 1159"/>
                <a:gd name="T14" fmla="*/ 0 w 1757"/>
                <a:gd name="T15" fmla="*/ 0 h 1159"/>
                <a:gd name="T16" fmla="*/ 0 w 1757"/>
                <a:gd name="T17" fmla="*/ 0 h 1159"/>
                <a:gd name="T18" fmla="*/ 0 w 1757"/>
                <a:gd name="T19" fmla="*/ 0 h 1159"/>
                <a:gd name="T20" fmla="*/ 0 w 1757"/>
                <a:gd name="T21" fmla="*/ 0 h 1159"/>
                <a:gd name="T22" fmla="*/ 0 w 1757"/>
                <a:gd name="T23" fmla="*/ 0 h 1159"/>
                <a:gd name="T24" fmla="*/ 0 w 1757"/>
                <a:gd name="T25" fmla="*/ 0 h 1159"/>
                <a:gd name="T26" fmla="*/ 0 w 1757"/>
                <a:gd name="T27" fmla="*/ 0 h 1159"/>
                <a:gd name="T28" fmla="*/ 0 w 1757"/>
                <a:gd name="T29" fmla="*/ 0 h 1159"/>
                <a:gd name="T30" fmla="*/ 0 w 1757"/>
                <a:gd name="T31" fmla="*/ 0 h 1159"/>
                <a:gd name="T32" fmla="*/ 0 w 1757"/>
                <a:gd name="T33" fmla="*/ 0 h 1159"/>
                <a:gd name="T34" fmla="*/ 0 w 1757"/>
                <a:gd name="T35" fmla="*/ 0 h 1159"/>
                <a:gd name="T36" fmla="*/ 0 w 1757"/>
                <a:gd name="T37" fmla="*/ 0 h 1159"/>
                <a:gd name="T38" fmla="*/ 0 w 1757"/>
                <a:gd name="T39" fmla="*/ 0 h 1159"/>
                <a:gd name="T40" fmla="*/ 0 w 1757"/>
                <a:gd name="T41" fmla="*/ 0 h 1159"/>
                <a:gd name="T42" fmla="*/ 0 w 1757"/>
                <a:gd name="T43" fmla="*/ 0 h 1159"/>
                <a:gd name="T44" fmla="*/ 0 w 1757"/>
                <a:gd name="T45" fmla="*/ 0 h 1159"/>
                <a:gd name="T46" fmla="*/ 0 w 1757"/>
                <a:gd name="T47" fmla="*/ 0 h 1159"/>
                <a:gd name="T48" fmla="*/ 0 w 1757"/>
                <a:gd name="T49" fmla="*/ 0 h 1159"/>
                <a:gd name="T50" fmla="*/ 0 w 1757"/>
                <a:gd name="T51" fmla="*/ 0 h 1159"/>
                <a:gd name="T52" fmla="*/ 0 w 1757"/>
                <a:gd name="T53" fmla="*/ 0 h 1159"/>
                <a:gd name="T54" fmla="*/ 0 w 1757"/>
                <a:gd name="T55" fmla="*/ 0 h 1159"/>
                <a:gd name="T56" fmla="*/ 0 w 1757"/>
                <a:gd name="T57" fmla="*/ 0 h 1159"/>
                <a:gd name="T58" fmla="*/ 0 w 1757"/>
                <a:gd name="T59" fmla="*/ 0 h 1159"/>
                <a:gd name="T60" fmla="*/ 0 w 1757"/>
                <a:gd name="T61" fmla="*/ 0 h 1159"/>
                <a:gd name="T62" fmla="*/ 0 w 1757"/>
                <a:gd name="T63" fmla="*/ 0 h 1159"/>
                <a:gd name="T64" fmla="*/ 0 w 1757"/>
                <a:gd name="T65" fmla="*/ 0 h 1159"/>
                <a:gd name="T66" fmla="*/ 0 w 1757"/>
                <a:gd name="T67" fmla="*/ 0 h 1159"/>
                <a:gd name="T68" fmla="*/ 0 w 1757"/>
                <a:gd name="T69" fmla="*/ 0 h 1159"/>
                <a:gd name="T70" fmla="*/ 0 w 1757"/>
                <a:gd name="T71" fmla="*/ 0 h 1159"/>
                <a:gd name="T72" fmla="*/ 0 w 1757"/>
                <a:gd name="T73" fmla="*/ 0 h 1159"/>
                <a:gd name="T74" fmla="*/ 0 w 1757"/>
                <a:gd name="T75" fmla="*/ 0 h 11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57"/>
                <a:gd name="T115" fmla="*/ 0 h 1159"/>
                <a:gd name="T116" fmla="*/ 1757 w 1757"/>
                <a:gd name="T117" fmla="*/ 1159 h 115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57" h="1159">
                  <a:moveTo>
                    <a:pt x="204" y="816"/>
                  </a:moveTo>
                  <a:lnTo>
                    <a:pt x="198" y="669"/>
                  </a:lnTo>
                  <a:lnTo>
                    <a:pt x="168" y="523"/>
                  </a:lnTo>
                  <a:lnTo>
                    <a:pt x="138" y="372"/>
                  </a:lnTo>
                  <a:lnTo>
                    <a:pt x="110" y="254"/>
                  </a:lnTo>
                  <a:lnTo>
                    <a:pt x="153" y="372"/>
                  </a:lnTo>
                  <a:lnTo>
                    <a:pt x="190" y="546"/>
                  </a:lnTo>
                  <a:lnTo>
                    <a:pt x="248" y="546"/>
                  </a:lnTo>
                  <a:lnTo>
                    <a:pt x="217" y="583"/>
                  </a:lnTo>
                  <a:lnTo>
                    <a:pt x="300" y="598"/>
                  </a:lnTo>
                  <a:lnTo>
                    <a:pt x="241" y="669"/>
                  </a:lnTo>
                  <a:lnTo>
                    <a:pt x="337" y="632"/>
                  </a:lnTo>
                  <a:lnTo>
                    <a:pt x="257" y="780"/>
                  </a:lnTo>
                  <a:lnTo>
                    <a:pt x="373" y="700"/>
                  </a:lnTo>
                  <a:lnTo>
                    <a:pt x="308" y="889"/>
                  </a:lnTo>
                  <a:lnTo>
                    <a:pt x="433" y="756"/>
                  </a:lnTo>
                  <a:lnTo>
                    <a:pt x="388" y="954"/>
                  </a:lnTo>
                  <a:lnTo>
                    <a:pt x="498" y="801"/>
                  </a:lnTo>
                  <a:lnTo>
                    <a:pt x="492" y="1021"/>
                  </a:lnTo>
                  <a:lnTo>
                    <a:pt x="580" y="844"/>
                  </a:lnTo>
                  <a:lnTo>
                    <a:pt x="600" y="1021"/>
                  </a:lnTo>
                  <a:lnTo>
                    <a:pt x="667" y="868"/>
                  </a:lnTo>
                  <a:lnTo>
                    <a:pt x="709" y="1027"/>
                  </a:lnTo>
                  <a:lnTo>
                    <a:pt x="755" y="881"/>
                  </a:lnTo>
                  <a:lnTo>
                    <a:pt x="805" y="1005"/>
                  </a:lnTo>
                  <a:lnTo>
                    <a:pt x="828" y="881"/>
                  </a:lnTo>
                  <a:lnTo>
                    <a:pt x="885" y="999"/>
                  </a:lnTo>
                  <a:lnTo>
                    <a:pt x="908" y="874"/>
                  </a:lnTo>
                  <a:lnTo>
                    <a:pt x="982" y="954"/>
                  </a:lnTo>
                  <a:lnTo>
                    <a:pt x="973" y="857"/>
                  </a:lnTo>
                  <a:lnTo>
                    <a:pt x="1062" y="948"/>
                  </a:lnTo>
                  <a:lnTo>
                    <a:pt x="1046" y="829"/>
                  </a:lnTo>
                  <a:lnTo>
                    <a:pt x="1163" y="889"/>
                  </a:lnTo>
                  <a:lnTo>
                    <a:pt x="1099" y="794"/>
                  </a:lnTo>
                  <a:lnTo>
                    <a:pt x="1252" y="837"/>
                  </a:lnTo>
                  <a:lnTo>
                    <a:pt x="1150" y="751"/>
                  </a:lnTo>
                  <a:lnTo>
                    <a:pt x="1318" y="771"/>
                  </a:lnTo>
                  <a:lnTo>
                    <a:pt x="1188" y="678"/>
                  </a:lnTo>
                  <a:lnTo>
                    <a:pt x="1368" y="700"/>
                  </a:lnTo>
                  <a:lnTo>
                    <a:pt x="1193" y="611"/>
                  </a:lnTo>
                  <a:lnTo>
                    <a:pt x="1377" y="568"/>
                  </a:lnTo>
                  <a:lnTo>
                    <a:pt x="1188" y="538"/>
                  </a:lnTo>
                  <a:lnTo>
                    <a:pt x="1327" y="473"/>
                  </a:lnTo>
                  <a:lnTo>
                    <a:pt x="1163" y="458"/>
                  </a:lnTo>
                  <a:lnTo>
                    <a:pt x="1252" y="385"/>
                  </a:lnTo>
                  <a:lnTo>
                    <a:pt x="1128" y="400"/>
                  </a:lnTo>
                  <a:lnTo>
                    <a:pt x="1171" y="341"/>
                  </a:lnTo>
                  <a:lnTo>
                    <a:pt x="1062" y="363"/>
                  </a:lnTo>
                  <a:lnTo>
                    <a:pt x="1090" y="327"/>
                  </a:lnTo>
                  <a:lnTo>
                    <a:pt x="1003" y="335"/>
                  </a:lnTo>
                  <a:lnTo>
                    <a:pt x="1027" y="305"/>
                  </a:lnTo>
                  <a:lnTo>
                    <a:pt x="842" y="275"/>
                  </a:lnTo>
                  <a:lnTo>
                    <a:pt x="673" y="248"/>
                  </a:lnTo>
                  <a:lnTo>
                    <a:pt x="483" y="180"/>
                  </a:lnTo>
                  <a:lnTo>
                    <a:pt x="241" y="70"/>
                  </a:lnTo>
                  <a:lnTo>
                    <a:pt x="0" y="0"/>
                  </a:lnTo>
                  <a:lnTo>
                    <a:pt x="278" y="70"/>
                  </a:lnTo>
                  <a:lnTo>
                    <a:pt x="507" y="174"/>
                  </a:lnTo>
                  <a:lnTo>
                    <a:pt x="740" y="248"/>
                  </a:lnTo>
                  <a:lnTo>
                    <a:pt x="1099" y="290"/>
                  </a:lnTo>
                  <a:lnTo>
                    <a:pt x="1399" y="378"/>
                  </a:lnTo>
                  <a:lnTo>
                    <a:pt x="1597" y="486"/>
                  </a:lnTo>
                  <a:lnTo>
                    <a:pt x="1714" y="583"/>
                  </a:lnTo>
                  <a:lnTo>
                    <a:pt x="1757" y="641"/>
                  </a:lnTo>
                  <a:lnTo>
                    <a:pt x="1757" y="669"/>
                  </a:lnTo>
                  <a:lnTo>
                    <a:pt x="1705" y="661"/>
                  </a:lnTo>
                  <a:lnTo>
                    <a:pt x="1604" y="771"/>
                  </a:lnTo>
                  <a:lnTo>
                    <a:pt x="1340" y="954"/>
                  </a:lnTo>
                  <a:lnTo>
                    <a:pt x="1163" y="1036"/>
                  </a:lnTo>
                  <a:lnTo>
                    <a:pt x="908" y="1122"/>
                  </a:lnTo>
                  <a:lnTo>
                    <a:pt x="688" y="1159"/>
                  </a:lnTo>
                  <a:lnTo>
                    <a:pt x="433" y="1137"/>
                  </a:lnTo>
                  <a:lnTo>
                    <a:pt x="278" y="1122"/>
                  </a:lnTo>
                  <a:lnTo>
                    <a:pt x="198" y="1109"/>
                  </a:lnTo>
                  <a:lnTo>
                    <a:pt x="204" y="961"/>
                  </a:lnTo>
                  <a:lnTo>
                    <a:pt x="204" y="816"/>
                  </a:lnTo>
                  <a:close/>
                </a:path>
              </a:pathLst>
            </a:custGeom>
            <a:solidFill>
              <a:srgbClr val="000000"/>
            </a:solidFill>
            <a:ln w="9525">
              <a:noFill/>
              <a:round/>
              <a:headEnd/>
              <a:tailEnd/>
            </a:ln>
          </p:spPr>
          <p:txBody>
            <a:bodyPr/>
            <a:lstStyle/>
            <a:p>
              <a:pPr>
                <a:defRPr/>
              </a:pPr>
              <a:endParaRPr lang="en-US" dirty="0">
                <a:cs typeface="+mn-cs"/>
              </a:endParaRPr>
            </a:p>
          </p:txBody>
        </p:sp>
        <p:sp>
          <p:nvSpPr>
            <p:cNvPr id="46" name="Freeform 1036"/>
            <p:cNvSpPr>
              <a:spLocks/>
            </p:cNvSpPr>
            <p:nvPr/>
          </p:nvSpPr>
          <p:spPr bwMode="auto">
            <a:xfrm>
              <a:off x="2396" y="1340"/>
              <a:ext cx="522" cy="200"/>
            </a:xfrm>
            <a:custGeom>
              <a:avLst/>
              <a:gdLst>
                <a:gd name="T0" fmla="*/ 0 w 1567"/>
                <a:gd name="T1" fmla="*/ 0 h 599"/>
                <a:gd name="T2" fmla="*/ 0 w 1567"/>
                <a:gd name="T3" fmla="*/ 0 h 599"/>
                <a:gd name="T4" fmla="*/ 0 w 1567"/>
                <a:gd name="T5" fmla="*/ 0 h 599"/>
                <a:gd name="T6" fmla="*/ 0 w 1567"/>
                <a:gd name="T7" fmla="*/ 0 h 599"/>
                <a:gd name="T8" fmla="*/ 0 w 1567"/>
                <a:gd name="T9" fmla="*/ 0 h 599"/>
                <a:gd name="T10" fmla="*/ 0 w 1567"/>
                <a:gd name="T11" fmla="*/ 0 h 599"/>
                <a:gd name="T12" fmla="*/ 0 w 1567"/>
                <a:gd name="T13" fmla="*/ 0 h 599"/>
                <a:gd name="T14" fmla="*/ 0 w 1567"/>
                <a:gd name="T15" fmla="*/ 0 h 599"/>
                <a:gd name="T16" fmla="*/ 0 w 1567"/>
                <a:gd name="T17" fmla="*/ 0 h 599"/>
                <a:gd name="T18" fmla="*/ 0 w 1567"/>
                <a:gd name="T19" fmla="*/ 0 h 599"/>
                <a:gd name="T20" fmla="*/ 0 w 1567"/>
                <a:gd name="T21" fmla="*/ 0 h 599"/>
                <a:gd name="T22" fmla="*/ 0 w 1567"/>
                <a:gd name="T23" fmla="*/ 0 h 599"/>
                <a:gd name="T24" fmla="*/ 0 w 1567"/>
                <a:gd name="T25" fmla="*/ 0 h 599"/>
                <a:gd name="T26" fmla="*/ 0 w 1567"/>
                <a:gd name="T27" fmla="*/ 0 h 599"/>
                <a:gd name="T28" fmla="*/ 0 w 1567"/>
                <a:gd name="T29" fmla="*/ 0 h 599"/>
                <a:gd name="T30" fmla="*/ 0 w 1567"/>
                <a:gd name="T31" fmla="*/ 0 h 599"/>
                <a:gd name="T32" fmla="*/ 0 w 1567"/>
                <a:gd name="T33" fmla="*/ 0 h 599"/>
                <a:gd name="T34" fmla="*/ 0 w 1567"/>
                <a:gd name="T35" fmla="*/ 0 h 599"/>
                <a:gd name="T36" fmla="*/ 0 w 1567"/>
                <a:gd name="T37" fmla="*/ 0 h 599"/>
                <a:gd name="T38" fmla="*/ 0 w 1567"/>
                <a:gd name="T39" fmla="*/ 0 h 599"/>
                <a:gd name="T40" fmla="*/ 0 w 1567"/>
                <a:gd name="T41" fmla="*/ 0 h 599"/>
                <a:gd name="T42" fmla="*/ 0 w 1567"/>
                <a:gd name="T43" fmla="*/ 0 h 599"/>
                <a:gd name="T44" fmla="*/ 0 w 1567"/>
                <a:gd name="T45" fmla="*/ 0 h 599"/>
                <a:gd name="T46" fmla="*/ 0 w 1567"/>
                <a:gd name="T47" fmla="*/ 0 h 599"/>
                <a:gd name="T48" fmla="*/ 0 w 1567"/>
                <a:gd name="T49" fmla="*/ 0 h 599"/>
                <a:gd name="T50" fmla="*/ 0 w 1567"/>
                <a:gd name="T51" fmla="*/ 0 h 599"/>
                <a:gd name="T52" fmla="*/ 0 w 1567"/>
                <a:gd name="T53" fmla="*/ 0 h 5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67"/>
                <a:gd name="T82" fmla="*/ 0 h 599"/>
                <a:gd name="T83" fmla="*/ 1567 w 1567"/>
                <a:gd name="T84" fmla="*/ 599 h 5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67" h="599">
                  <a:moveTo>
                    <a:pt x="0" y="576"/>
                  </a:moveTo>
                  <a:lnTo>
                    <a:pt x="95" y="599"/>
                  </a:lnTo>
                  <a:lnTo>
                    <a:pt x="248" y="599"/>
                  </a:lnTo>
                  <a:lnTo>
                    <a:pt x="498" y="576"/>
                  </a:lnTo>
                  <a:lnTo>
                    <a:pt x="777" y="520"/>
                  </a:lnTo>
                  <a:lnTo>
                    <a:pt x="1012" y="447"/>
                  </a:lnTo>
                  <a:lnTo>
                    <a:pt x="1267" y="343"/>
                  </a:lnTo>
                  <a:lnTo>
                    <a:pt x="1457" y="241"/>
                  </a:lnTo>
                  <a:lnTo>
                    <a:pt x="1532" y="154"/>
                  </a:lnTo>
                  <a:lnTo>
                    <a:pt x="1560" y="95"/>
                  </a:lnTo>
                  <a:lnTo>
                    <a:pt x="1567" y="50"/>
                  </a:lnTo>
                  <a:lnTo>
                    <a:pt x="1567" y="36"/>
                  </a:lnTo>
                  <a:lnTo>
                    <a:pt x="1545" y="0"/>
                  </a:lnTo>
                  <a:lnTo>
                    <a:pt x="1515" y="15"/>
                  </a:lnTo>
                  <a:lnTo>
                    <a:pt x="1509" y="102"/>
                  </a:lnTo>
                  <a:lnTo>
                    <a:pt x="1450" y="177"/>
                  </a:lnTo>
                  <a:lnTo>
                    <a:pt x="1377" y="233"/>
                  </a:lnTo>
                  <a:lnTo>
                    <a:pt x="1260" y="284"/>
                  </a:lnTo>
                  <a:lnTo>
                    <a:pt x="1034" y="388"/>
                  </a:lnTo>
                  <a:lnTo>
                    <a:pt x="470" y="541"/>
                  </a:lnTo>
                  <a:lnTo>
                    <a:pt x="256" y="561"/>
                  </a:lnTo>
                  <a:lnTo>
                    <a:pt x="118" y="555"/>
                  </a:lnTo>
                  <a:lnTo>
                    <a:pt x="43" y="541"/>
                  </a:lnTo>
                  <a:lnTo>
                    <a:pt x="36" y="520"/>
                  </a:lnTo>
                  <a:lnTo>
                    <a:pt x="27" y="460"/>
                  </a:lnTo>
                  <a:lnTo>
                    <a:pt x="0" y="576"/>
                  </a:lnTo>
                  <a:close/>
                </a:path>
              </a:pathLst>
            </a:custGeom>
            <a:solidFill>
              <a:srgbClr val="000000"/>
            </a:solidFill>
            <a:ln w="9525">
              <a:noFill/>
              <a:round/>
              <a:headEnd/>
              <a:tailEnd/>
            </a:ln>
          </p:spPr>
          <p:txBody>
            <a:bodyPr/>
            <a:lstStyle/>
            <a:p>
              <a:pPr>
                <a:defRPr/>
              </a:pPr>
              <a:endParaRPr lang="en-US" dirty="0">
                <a:cs typeface="+mn-cs"/>
              </a:endParaRPr>
            </a:p>
          </p:txBody>
        </p:sp>
      </p:grpSp>
      <p:grpSp>
        <p:nvGrpSpPr>
          <p:cNvPr id="6" name="Group 1093"/>
          <p:cNvGrpSpPr>
            <a:grpSpLocks/>
          </p:cNvGrpSpPr>
          <p:nvPr/>
        </p:nvGrpSpPr>
        <p:grpSpPr bwMode="auto">
          <a:xfrm>
            <a:off x="1065214" y="2659596"/>
            <a:ext cx="854978" cy="966253"/>
            <a:chOff x="4088" y="2163"/>
            <a:chExt cx="812" cy="1574"/>
          </a:xfrm>
          <a:effectLst>
            <a:outerShdw blurRad="50800" dist="38100" dir="2700000" algn="tl" rotWithShape="0">
              <a:prstClr val="black">
                <a:alpha val="40000"/>
              </a:prstClr>
            </a:outerShdw>
          </a:effectLst>
        </p:grpSpPr>
        <p:sp>
          <p:nvSpPr>
            <p:cNvPr id="48" name="Freeform 1094"/>
            <p:cNvSpPr>
              <a:spLocks/>
            </p:cNvSpPr>
            <p:nvPr/>
          </p:nvSpPr>
          <p:spPr bwMode="auto">
            <a:xfrm>
              <a:off x="4110" y="2163"/>
              <a:ext cx="790" cy="1574"/>
            </a:xfrm>
            <a:custGeom>
              <a:avLst/>
              <a:gdLst>
                <a:gd name="T0" fmla="*/ 0 w 3158"/>
                <a:gd name="T1" fmla="*/ 0 h 6294"/>
                <a:gd name="T2" fmla="*/ 0 w 3158"/>
                <a:gd name="T3" fmla="*/ 0 h 6294"/>
                <a:gd name="T4" fmla="*/ 0 w 3158"/>
                <a:gd name="T5" fmla="*/ 0 h 6294"/>
                <a:gd name="T6" fmla="*/ 0 w 3158"/>
                <a:gd name="T7" fmla="*/ 0 h 6294"/>
                <a:gd name="T8" fmla="*/ 0 w 3158"/>
                <a:gd name="T9" fmla="*/ 0 h 6294"/>
                <a:gd name="T10" fmla="*/ 0 w 3158"/>
                <a:gd name="T11" fmla="*/ 0 h 6294"/>
                <a:gd name="T12" fmla="*/ 0 w 3158"/>
                <a:gd name="T13" fmla="*/ 0 h 6294"/>
                <a:gd name="T14" fmla="*/ 0 w 3158"/>
                <a:gd name="T15" fmla="*/ 0 h 6294"/>
                <a:gd name="T16" fmla="*/ 0 w 3158"/>
                <a:gd name="T17" fmla="*/ 0 h 6294"/>
                <a:gd name="T18" fmla="*/ 0 w 3158"/>
                <a:gd name="T19" fmla="*/ 0 h 6294"/>
                <a:gd name="T20" fmla="*/ 0 w 3158"/>
                <a:gd name="T21" fmla="*/ 0 h 6294"/>
                <a:gd name="T22" fmla="*/ 0 w 3158"/>
                <a:gd name="T23" fmla="*/ 0 h 6294"/>
                <a:gd name="T24" fmla="*/ 0 w 3158"/>
                <a:gd name="T25" fmla="*/ 0 h 6294"/>
                <a:gd name="T26" fmla="*/ 0 w 3158"/>
                <a:gd name="T27" fmla="*/ 0 h 6294"/>
                <a:gd name="T28" fmla="*/ 0 w 3158"/>
                <a:gd name="T29" fmla="*/ 0 h 6294"/>
                <a:gd name="T30" fmla="*/ 0 w 3158"/>
                <a:gd name="T31" fmla="*/ 0 h 6294"/>
                <a:gd name="T32" fmla="*/ 0 w 3158"/>
                <a:gd name="T33" fmla="*/ 0 h 6294"/>
                <a:gd name="T34" fmla="*/ 0 w 3158"/>
                <a:gd name="T35" fmla="*/ 0 h 6294"/>
                <a:gd name="T36" fmla="*/ 0 w 3158"/>
                <a:gd name="T37" fmla="*/ 0 h 6294"/>
                <a:gd name="T38" fmla="*/ 0 w 3158"/>
                <a:gd name="T39" fmla="*/ 0 h 6294"/>
                <a:gd name="T40" fmla="*/ 0 w 3158"/>
                <a:gd name="T41" fmla="*/ 0 h 6294"/>
                <a:gd name="T42" fmla="*/ 0 w 3158"/>
                <a:gd name="T43" fmla="*/ 0 h 6294"/>
                <a:gd name="T44" fmla="*/ 0 w 3158"/>
                <a:gd name="T45" fmla="*/ 0 h 6294"/>
                <a:gd name="T46" fmla="*/ 0 w 3158"/>
                <a:gd name="T47" fmla="*/ 0 h 6294"/>
                <a:gd name="T48" fmla="*/ 0 w 3158"/>
                <a:gd name="T49" fmla="*/ 0 h 6294"/>
                <a:gd name="T50" fmla="*/ 0 w 3158"/>
                <a:gd name="T51" fmla="*/ 0 h 6294"/>
                <a:gd name="T52" fmla="*/ 0 w 3158"/>
                <a:gd name="T53" fmla="*/ 0 h 6294"/>
                <a:gd name="T54" fmla="*/ 0 w 3158"/>
                <a:gd name="T55" fmla="*/ 0 h 6294"/>
                <a:gd name="T56" fmla="*/ 0 w 3158"/>
                <a:gd name="T57" fmla="*/ 0 h 6294"/>
                <a:gd name="T58" fmla="*/ 0 w 3158"/>
                <a:gd name="T59" fmla="*/ 0 h 6294"/>
                <a:gd name="T60" fmla="*/ 0 w 3158"/>
                <a:gd name="T61" fmla="*/ 0 h 6294"/>
                <a:gd name="T62" fmla="*/ 0 w 3158"/>
                <a:gd name="T63" fmla="*/ 0 h 6294"/>
                <a:gd name="T64" fmla="*/ 0 w 3158"/>
                <a:gd name="T65" fmla="*/ 0 h 6294"/>
                <a:gd name="T66" fmla="*/ 0 w 3158"/>
                <a:gd name="T67" fmla="*/ 0 h 6294"/>
                <a:gd name="T68" fmla="*/ 0 w 3158"/>
                <a:gd name="T69" fmla="*/ 0 h 6294"/>
                <a:gd name="T70" fmla="*/ 0 w 3158"/>
                <a:gd name="T71" fmla="*/ 0 h 6294"/>
                <a:gd name="T72" fmla="*/ 0 w 3158"/>
                <a:gd name="T73" fmla="*/ 0 h 6294"/>
                <a:gd name="T74" fmla="*/ 0 w 3158"/>
                <a:gd name="T75" fmla="*/ 0 h 6294"/>
                <a:gd name="T76" fmla="*/ 0 w 3158"/>
                <a:gd name="T77" fmla="*/ 0 h 6294"/>
                <a:gd name="T78" fmla="*/ 0 w 3158"/>
                <a:gd name="T79" fmla="*/ 0 h 6294"/>
                <a:gd name="T80" fmla="*/ 0 w 3158"/>
                <a:gd name="T81" fmla="*/ 0 h 6294"/>
                <a:gd name="T82" fmla="*/ 0 w 3158"/>
                <a:gd name="T83" fmla="*/ 0 h 6294"/>
                <a:gd name="T84" fmla="*/ 0 w 3158"/>
                <a:gd name="T85" fmla="*/ 0 h 6294"/>
                <a:gd name="T86" fmla="*/ 0 w 3158"/>
                <a:gd name="T87" fmla="*/ 0 h 6294"/>
                <a:gd name="T88" fmla="*/ 0 w 3158"/>
                <a:gd name="T89" fmla="*/ 0 h 6294"/>
                <a:gd name="T90" fmla="*/ 0 w 3158"/>
                <a:gd name="T91" fmla="*/ 0 h 6294"/>
                <a:gd name="T92" fmla="*/ 0 w 3158"/>
                <a:gd name="T93" fmla="*/ 0 h 6294"/>
                <a:gd name="T94" fmla="*/ 0 w 3158"/>
                <a:gd name="T95" fmla="*/ 0 h 6294"/>
                <a:gd name="T96" fmla="*/ 0 w 3158"/>
                <a:gd name="T97" fmla="*/ 0 h 6294"/>
                <a:gd name="T98" fmla="*/ 0 w 3158"/>
                <a:gd name="T99" fmla="*/ 0 h 6294"/>
                <a:gd name="T100" fmla="*/ 0 w 3158"/>
                <a:gd name="T101" fmla="*/ 0 h 6294"/>
                <a:gd name="T102" fmla="*/ 0 w 3158"/>
                <a:gd name="T103" fmla="*/ 0 h 629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158"/>
                <a:gd name="T157" fmla="*/ 0 h 6294"/>
                <a:gd name="T158" fmla="*/ 3158 w 3158"/>
                <a:gd name="T159" fmla="*/ 6294 h 629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158" h="6294">
                  <a:moveTo>
                    <a:pt x="60" y="60"/>
                  </a:moveTo>
                  <a:lnTo>
                    <a:pt x="53" y="100"/>
                  </a:lnTo>
                  <a:lnTo>
                    <a:pt x="52" y="142"/>
                  </a:lnTo>
                  <a:lnTo>
                    <a:pt x="53" y="185"/>
                  </a:lnTo>
                  <a:lnTo>
                    <a:pt x="58" y="227"/>
                  </a:lnTo>
                  <a:lnTo>
                    <a:pt x="63" y="267"/>
                  </a:lnTo>
                  <a:lnTo>
                    <a:pt x="72" y="309"/>
                  </a:lnTo>
                  <a:lnTo>
                    <a:pt x="79" y="348"/>
                  </a:lnTo>
                  <a:lnTo>
                    <a:pt x="89" y="388"/>
                  </a:lnTo>
                  <a:lnTo>
                    <a:pt x="123" y="457"/>
                  </a:lnTo>
                  <a:lnTo>
                    <a:pt x="157" y="527"/>
                  </a:lnTo>
                  <a:lnTo>
                    <a:pt x="189" y="599"/>
                  </a:lnTo>
                  <a:lnTo>
                    <a:pt x="223" y="671"/>
                  </a:lnTo>
                  <a:lnTo>
                    <a:pt x="256" y="741"/>
                  </a:lnTo>
                  <a:lnTo>
                    <a:pt x="290" y="812"/>
                  </a:lnTo>
                  <a:lnTo>
                    <a:pt x="325" y="883"/>
                  </a:lnTo>
                  <a:lnTo>
                    <a:pt x="362" y="953"/>
                  </a:lnTo>
                  <a:lnTo>
                    <a:pt x="393" y="1000"/>
                  </a:lnTo>
                  <a:lnTo>
                    <a:pt x="425" y="1049"/>
                  </a:lnTo>
                  <a:lnTo>
                    <a:pt x="458" y="1096"/>
                  </a:lnTo>
                  <a:lnTo>
                    <a:pt x="492" y="1145"/>
                  </a:lnTo>
                  <a:lnTo>
                    <a:pt x="524" y="1192"/>
                  </a:lnTo>
                  <a:lnTo>
                    <a:pt x="558" y="1239"/>
                  </a:lnTo>
                  <a:lnTo>
                    <a:pt x="590" y="1287"/>
                  </a:lnTo>
                  <a:lnTo>
                    <a:pt x="624" y="1336"/>
                  </a:lnTo>
                  <a:lnTo>
                    <a:pt x="681" y="1400"/>
                  </a:lnTo>
                  <a:lnTo>
                    <a:pt x="735" y="1465"/>
                  </a:lnTo>
                  <a:lnTo>
                    <a:pt x="787" y="1533"/>
                  </a:lnTo>
                  <a:lnTo>
                    <a:pt x="836" y="1602"/>
                  </a:lnTo>
                  <a:lnTo>
                    <a:pt x="882" y="1672"/>
                  </a:lnTo>
                  <a:lnTo>
                    <a:pt x="924" y="1745"/>
                  </a:lnTo>
                  <a:lnTo>
                    <a:pt x="963" y="1818"/>
                  </a:lnTo>
                  <a:lnTo>
                    <a:pt x="999" y="1893"/>
                  </a:lnTo>
                  <a:lnTo>
                    <a:pt x="1017" y="1916"/>
                  </a:lnTo>
                  <a:lnTo>
                    <a:pt x="1034" y="1941"/>
                  </a:lnTo>
                  <a:lnTo>
                    <a:pt x="1050" y="1967"/>
                  </a:lnTo>
                  <a:lnTo>
                    <a:pt x="1067" y="1993"/>
                  </a:lnTo>
                  <a:lnTo>
                    <a:pt x="1082" y="2018"/>
                  </a:lnTo>
                  <a:lnTo>
                    <a:pt x="1098" y="2044"/>
                  </a:lnTo>
                  <a:lnTo>
                    <a:pt x="1115" y="2069"/>
                  </a:lnTo>
                  <a:lnTo>
                    <a:pt x="1132" y="2095"/>
                  </a:lnTo>
                  <a:lnTo>
                    <a:pt x="1196" y="2169"/>
                  </a:lnTo>
                  <a:lnTo>
                    <a:pt x="1264" y="2243"/>
                  </a:lnTo>
                  <a:lnTo>
                    <a:pt x="1331" y="2318"/>
                  </a:lnTo>
                  <a:lnTo>
                    <a:pt x="1398" y="2393"/>
                  </a:lnTo>
                  <a:lnTo>
                    <a:pt x="1462" y="2468"/>
                  </a:lnTo>
                  <a:lnTo>
                    <a:pt x="1528" y="2545"/>
                  </a:lnTo>
                  <a:lnTo>
                    <a:pt x="1589" y="2623"/>
                  </a:lnTo>
                  <a:lnTo>
                    <a:pt x="1648" y="2704"/>
                  </a:lnTo>
                  <a:lnTo>
                    <a:pt x="1680" y="2752"/>
                  </a:lnTo>
                  <a:lnTo>
                    <a:pt x="1716" y="2798"/>
                  </a:lnTo>
                  <a:lnTo>
                    <a:pt x="1751" y="2845"/>
                  </a:lnTo>
                  <a:lnTo>
                    <a:pt x="1786" y="2892"/>
                  </a:lnTo>
                  <a:lnTo>
                    <a:pt x="1820" y="2937"/>
                  </a:lnTo>
                  <a:lnTo>
                    <a:pt x="1853" y="2985"/>
                  </a:lnTo>
                  <a:lnTo>
                    <a:pt x="1882" y="3034"/>
                  </a:lnTo>
                  <a:lnTo>
                    <a:pt x="1909" y="3086"/>
                  </a:lnTo>
                  <a:lnTo>
                    <a:pt x="1932" y="3122"/>
                  </a:lnTo>
                  <a:lnTo>
                    <a:pt x="1955" y="3160"/>
                  </a:lnTo>
                  <a:lnTo>
                    <a:pt x="1977" y="3198"/>
                  </a:lnTo>
                  <a:lnTo>
                    <a:pt x="1999" y="3237"/>
                  </a:lnTo>
                  <a:lnTo>
                    <a:pt x="2017" y="3277"/>
                  </a:lnTo>
                  <a:lnTo>
                    <a:pt x="2037" y="3316"/>
                  </a:lnTo>
                  <a:lnTo>
                    <a:pt x="2054" y="3356"/>
                  </a:lnTo>
                  <a:lnTo>
                    <a:pt x="2071" y="3398"/>
                  </a:lnTo>
                  <a:lnTo>
                    <a:pt x="2083" y="3410"/>
                  </a:lnTo>
                  <a:lnTo>
                    <a:pt x="2093" y="3424"/>
                  </a:lnTo>
                  <a:lnTo>
                    <a:pt x="2100" y="3441"/>
                  </a:lnTo>
                  <a:lnTo>
                    <a:pt x="2106" y="3458"/>
                  </a:lnTo>
                  <a:lnTo>
                    <a:pt x="2111" y="3474"/>
                  </a:lnTo>
                  <a:lnTo>
                    <a:pt x="2117" y="3491"/>
                  </a:lnTo>
                  <a:lnTo>
                    <a:pt x="2125" y="3506"/>
                  </a:lnTo>
                  <a:lnTo>
                    <a:pt x="2137" y="3522"/>
                  </a:lnTo>
                  <a:lnTo>
                    <a:pt x="2144" y="3557"/>
                  </a:lnTo>
                  <a:lnTo>
                    <a:pt x="2155" y="3592"/>
                  </a:lnTo>
                  <a:lnTo>
                    <a:pt x="2166" y="3626"/>
                  </a:lnTo>
                  <a:lnTo>
                    <a:pt x="2179" y="3660"/>
                  </a:lnTo>
                  <a:lnTo>
                    <a:pt x="2191" y="3693"/>
                  </a:lnTo>
                  <a:lnTo>
                    <a:pt x="2203" y="3728"/>
                  </a:lnTo>
                  <a:lnTo>
                    <a:pt x="2213" y="3763"/>
                  </a:lnTo>
                  <a:lnTo>
                    <a:pt x="2223" y="3800"/>
                  </a:lnTo>
                  <a:lnTo>
                    <a:pt x="2227" y="3803"/>
                  </a:lnTo>
                  <a:lnTo>
                    <a:pt x="2229" y="3806"/>
                  </a:lnTo>
                  <a:lnTo>
                    <a:pt x="2229" y="3810"/>
                  </a:lnTo>
                  <a:lnTo>
                    <a:pt x="2229" y="3817"/>
                  </a:lnTo>
                  <a:lnTo>
                    <a:pt x="2227" y="3827"/>
                  </a:lnTo>
                  <a:lnTo>
                    <a:pt x="2232" y="3838"/>
                  </a:lnTo>
                  <a:lnTo>
                    <a:pt x="2268" y="3951"/>
                  </a:lnTo>
                  <a:lnTo>
                    <a:pt x="2303" y="4065"/>
                  </a:lnTo>
                  <a:lnTo>
                    <a:pt x="2335" y="4179"/>
                  </a:lnTo>
                  <a:lnTo>
                    <a:pt x="2366" y="4295"/>
                  </a:lnTo>
                  <a:lnTo>
                    <a:pt x="2395" y="4409"/>
                  </a:lnTo>
                  <a:lnTo>
                    <a:pt x="2425" y="4526"/>
                  </a:lnTo>
                  <a:lnTo>
                    <a:pt x="2455" y="4642"/>
                  </a:lnTo>
                  <a:lnTo>
                    <a:pt x="2487" y="4759"/>
                  </a:lnTo>
                  <a:lnTo>
                    <a:pt x="2506" y="4813"/>
                  </a:lnTo>
                  <a:lnTo>
                    <a:pt x="2526" y="4868"/>
                  </a:lnTo>
                  <a:lnTo>
                    <a:pt x="2543" y="4924"/>
                  </a:lnTo>
                  <a:lnTo>
                    <a:pt x="2562" y="4979"/>
                  </a:lnTo>
                  <a:lnTo>
                    <a:pt x="2578" y="5035"/>
                  </a:lnTo>
                  <a:lnTo>
                    <a:pt x="2595" y="5091"/>
                  </a:lnTo>
                  <a:lnTo>
                    <a:pt x="2612" y="5146"/>
                  </a:lnTo>
                  <a:lnTo>
                    <a:pt x="2631" y="5203"/>
                  </a:lnTo>
                  <a:lnTo>
                    <a:pt x="2651" y="5258"/>
                  </a:lnTo>
                  <a:lnTo>
                    <a:pt x="2672" y="5314"/>
                  </a:lnTo>
                  <a:lnTo>
                    <a:pt x="2690" y="5369"/>
                  </a:lnTo>
                  <a:lnTo>
                    <a:pt x="2711" y="5425"/>
                  </a:lnTo>
                  <a:lnTo>
                    <a:pt x="2730" y="5479"/>
                  </a:lnTo>
                  <a:lnTo>
                    <a:pt x="2754" y="5534"/>
                  </a:lnTo>
                  <a:lnTo>
                    <a:pt x="2781" y="5586"/>
                  </a:lnTo>
                  <a:lnTo>
                    <a:pt x="2814" y="5639"/>
                  </a:lnTo>
                  <a:lnTo>
                    <a:pt x="2830" y="5685"/>
                  </a:lnTo>
                  <a:lnTo>
                    <a:pt x="2849" y="5731"/>
                  </a:lnTo>
                  <a:lnTo>
                    <a:pt x="2867" y="5777"/>
                  </a:lnTo>
                  <a:lnTo>
                    <a:pt x="2887" y="5824"/>
                  </a:lnTo>
                  <a:lnTo>
                    <a:pt x="2906" y="5868"/>
                  </a:lnTo>
                  <a:lnTo>
                    <a:pt x="2926" y="5914"/>
                  </a:lnTo>
                  <a:lnTo>
                    <a:pt x="2946" y="5960"/>
                  </a:lnTo>
                  <a:lnTo>
                    <a:pt x="2965" y="6005"/>
                  </a:lnTo>
                  <a:lnTo>
                    <a:pt x="2988" y="6041"/>
                  </a:lnTo>
                  <a:lnTo>
                    <a:pt x="3013" y="6077"/>
                  </a:lnTo>
                  <a:lnTo>
                    <a:pt x="3038" y="6113"/>
                  </a:lnTo>
                  <a:lnTo>
                    <a:pt x="3064" y="6150"/>
                  </a:lnTo>
                  <a:lnTo>
                    <a:pt x="3088" y="6186"/>
                  </a:lnTo>
                  <a:lnTo>
                    <a:pt x="3112" y="6222"/>
                  </a:lnTo>
                  <a:lnTo>
                    <a:pt x="3135" y="6258"/>
                  </a:lnTo>
                  <a:lnTo>
                    <a:pt x="3158" y="6294"/>
                  </a:lnTo>
                  <a:lnTo>
                    <a:pt x="3145" y="6293"/>
                  </a:lnTo>
                  <a:lnTo>
                    <a:pt x="3136" y="6290"/>
                  </a:lnTo>
                  <a:lnTo>
                    <a:pt x="3128" y="6281"/>
                  </a:lnTo>
                  <a:lnTo>
                    <a:pt x="3123" y="6273"/>
                  </a:lnTo>
                  <a:lnTo>
                    <a:pt x="3116" y="6262"/>
                  </a:lnTo>
                  <a:lnTo>
                    <a:pt x="3112" y="6251"/>
                  </a:lnTo>
                  <a:lnTo>
                    <a:pt x="3106" y="6240"/>
                  </a:lnTo>
                  <a:lnTo>
                    <a:pt x="3101" y="6231"/>
                  </a:lnTo>
                  <a:lnTo>
                    <a:pt x="3065" y="6191"/>
                  </a:lnTo>
                  <a:lnTo>
                    <a:pt x="3027" y="6154"/>
                  </a:lnTo>
                  <a:lnTo>
                    <a:pt x="2987" y="6117"/>
                  </a:lnTo>
                  <a:lnTo>
                    <a:pt x="2948" y="6080"/>
                  </a:lnTo>
                  <a:lnTo>
                    <a:pt x="2909" y="6041"/>
                  </a:lnTo>
                  <a:lnTo>
                    <a:pt x="2873" y="6002"/>
                  </a:lnTo>
                  <a:lnTo>
                    <a:pt x="2840" y="5960"/>
                  </a:lnTo>
                  <a:lnTo>
                    <a:pt x="2814" y="5916"/>
                  </a:lnTo>
                  <a:lnTo>
                    <a:pt x="2788" y="5862"/>
                  </a:lnTo>
                  <a:lnTo>
                    <a:pt x="2762" y="5809"/>
                  </a:lnTo>
                  <a:lnTo>
                    <a:pt x="2735" y="5754"/>
                  </a:lnTo>
                  <a:lnTo>
                    <a:pt x="2707" y="5702"/>
                  </a:lnTo>
                  <a:lnTo>
                    <a:pt x="2677" y="5649"/>
                  </a:lnTo>
                  <a:lnTo>
                    <a:pt x="2647" y="5598"/>
                  </a:lnTo>
                  <a:lnTo>
                    <a:pt x="2614" y="5545"/>
                  </a:lnTo>
                  <a:lnTo>
                    <a:pt x="2580" y="5497"/>
                  </a:lnTo>
                  <a:lnTo>
                    <a:pt x="2574" y="5481"/>
                  </a:lnTo>
                  <a:lnTo>
                    <a:pt x="2568" y="5466"/>
                  </a:lnTo>
                  <a:lnTo>
                    <a:pt x="2561" y="5451"/>
                  </a:lnTo>
                  <a:lnTo>
                    <a:pt x="2554" y="5436"/>
                  </a:lnTo>
                  <a:lnTo>
                    <a:pt x="2547" y="5419"/>
                  </a:lnTo>
                  <a:lnTo>
                    <a:pt x="2539" y="5404"/>
                  </a:lnTo>
                  <a:lnTo>
                    <a:pt x="2532" y="5388"/>
                  </a:lnTo>
                  <a:lnTo>
                    <a:pt x="2526" y="5374"/>
                  </a:lnTo>
                  <a:lnTo>
                    <a:pt x="2499" y="5301"/>
                  </a:lnTo>
                  <a:lnTo>
                    <a:pt x="2470" y="5231"/>
                  </a:lnTo>
                  <a:lnTo>
                    <a:pt x="2440" y="5161"/>
                  </a:lnTo>
                  <a:lnTo>
                    <a:pt x="2410" y="5092"/>
                  </a:lnTo>
                  <a:lnTo>
                    <a:pt x="2377" y="5023"/>
                  </a:lnTo>
                  <a:lnTo>
                    <a:pt x="2346" y="4953"/>
                  </a:lnTo>
                  <a:lnTo>
                    <a:pt x="2316" y="4883"/>
                  </a:lnTo>
                  <a:lnTo>
                    <a:pt x="2288" y="4814"/>
                  </a:lnTo>
                  <a:lnTo>
                    <a:pt x="2239" y="4731"/>
                  </a:lnTo>
                  <a:lnTo>
                    <a:pt x="2194" y="4649"/>
                  </a:lnTo>
                  <a:lnTo>
                    <a:pt x="2150" y="4565"/>
                  </a:lnTo>
                  <a:lnTo>
                    <a:pt x="2108" y="4481"/>
                  </a:lnTo>
                  <a:lnTo>
                    <a:pt x="2066" y="4396"/>
                  </a:lnTo>
                  <a:lnTo>
                    <a:pt x="2025" y="4313"/>
                  </a:lnTo>
                  <a:lnTo>
                    <a:pt x="1983" y="4229"/>
                  </a:lnTo>
                  <a:lnTo>
                    <a:pt x="1943" y="4145"/>
                  </a:lnTo>
                  <a:lnTo>
                    <a:pt x="1906" y="4090"/>
                  </a:lnTo>
                  <a:lnTo>
                    <a:pt x="1872" y="4035"/>
                  </a:lnTo>
                  <a:lnTo>
                    <a:pt x="1840" y="3980"/>
                  </a:lnTo>
                  <a:lnTo>
                    <a:pt x="1808" y="3925"/>
                  </a:lnTo>
                  <a:lnTo>
                    <a:pt x="1775" y="3869"/>
                  </a:lnTo>
                  <a:lnTo>
                    <a:pt x="1740" y="3816"/>
                  </a:lnTo>
                  <a:lnTo>
                    <a:pt x="1701" y="3764"/>
                  </a:lnTo>
                  <a:lnTo>
                    <a:pt x="1659" y="3715"/>
                  </a:lnTo>
                  <a:lnTo>
                    <a:pt x="1586" y="3600"/>
                  </a:lnTo>
                  <a:lnTo>
                    <a:pt x="1581" y="3589"/>
                  </a:lnTo>
                  <a:lnTo>
                    <a:pt x="1576" y="3579"/>
                  </a:lnTo>
                  <a:lnTo>
                    <a:pt x="1569" y="3569"/>
                  </a:lnTo>
                  <a:lnTo>
                    <a:pt x="1563" y="3559"/>
                  </a:lnTo>
                  <a:lnTo>
                    <a:pt x="1554" y="3548"/>
                  </a:lnTo>
                  <a:lnTo>
                    <a:pt x="1547" y="3539"/>
                  </a:lnTo>
                  <a:lnTo>
                    <a:pt x="1541" y="3528"/>
                  </a:lnTo>
                  <a:lnTo>
                    <a:pt x="1535" y="3518"/>
                  </a:lnTo>
                  <a:lnTo>
                    <a:pt x="1483" y="3429"/>
                  </a:lnTo>
                  <a:lnTo>
                    <a:pt x="1433" y="3340"/>
                  </a:lnTo>
                  <a:lnTo>
                    <a:pt x="1383" y="3251"/>
                  </a:lnTo>
                  <a:lnTo>
                    <a:pt x="1333" y="3162"/>
                  </a:lnTo>
                  <a:lnTo>
                    <a:pt x="1282" y="3073"/>
                  </a:lnTo>
                  <a:lnTo>
                    <a:pt x="1230" y="2985"/>
                  </a:lnTo>
                  <a:lnTo>
                    <a:pt x="1175" y="2898"/>
                  </a:lnTo>
                  <a:lnTo>
                    <a:pt x="1119" y="2814"/>
                  </a:lnTo>
                  <a:lnTo>
                    <a:pt x="1080" y="2724"/>
                  </a:lnTo>
                  <a:lnTo>
                    <a:pt x="1038" y="2637"/>
                  </a:lnTo>
                  <a:lnTo>
                    <a:pt x="994" y="2550"/>
                  </a:lnTo>
                  <a:lnTo>
                    <a:pt x="950" y="2466"/>
                  </a:lnTo>
                  <a:lnTo>
                    <a:pt x="905" y="2380"/>
                  </a:lnTo>
                  <a:lnTo>
                    <a:pt x="860" y="2294"/>
                  </a:lnTo>
                  <a:lnTo>
                    <a:pt x="818" y="2207"/>
                  </a:lnTo>
                  <a:lnTo>
                    <a:pt x="780" y="2120"/>
                  </a:lnTo>
                  <a:lnTo>
                    <a:pt x="766" y="2109"/>
                  </a:lnTo>
                  <a:lnTo>
                    <a:pt x="758" y="2097"/>
                  </a:lnTo>
                  <a:lnTo>
                    <a:pt x="752" y="2083"/>
                  </a:lnTo>
                  <a:lnTo>
                    <a:pt x="749" y="2069"/>
                  </a:lnTo>
                  <a:lnTo>
                    <a:pt x="745" y="2054"/>
                  </a:lnTo>
                  <a:lnTo>
                    <a:pt x="742" y="2038"/>
                  </a:lnTo>
                  <a:lnTo>
                    <a:pt x="734" y="2024"/>
                  </a:lnTo>
                  <a:lnTo>
                    <a:pt x="724" y="2012"/>
                  </a:lnTo>
                  <a:lnTo>
                    <a:pt x="704" y="1964"/>
                  </a:lnTo>
                  <a:lnTo>
                    <a:pt x="682" y="1919"/>
                  </a:lnTo>
                  <a:lnTo>
                    <a:pt x="659" y="1873"/>
                  </a:lnTo>
                  <a:lnTo>
                    <a:pt x="636" y="1827"/>
                  </a:lnTo>
                  <a:lnTo>
                    <a:pt x="613" y="1781"/>
                  </a:lnTo>
                  <a:lnTo>
                    <a:pt x="592" y="1735"/>
                  </a:lnTo>
                  <a:lnTo>
                    <a:pt x="572" y="1688"/>
                  </a:lnTo>
                  <a:lnTo>
                    <a:pt x="557" y="1641"/>
                  </a:lnTo>
                  <a:lnTo>
                    <a:pt x="499" y="1550"/>
                  </a:lnTo>
                  <a:lnTo>
                    <a:pt x="445" y="1461"/>
                  </a:lnTo>
                  <a:lnTo>
                    <a:pt x="393" y="1370"/>
                  </a:lnTo>
                  <a:lnTo>
                    <a:pt x="346" y="1279"/>
                  </a:lnTo>
                  <a:lnTo>
                    <a:pt x="302" y="1183"/>
                  </a:lnTo>
                  <a:lnTo>
                    <a:pt x="264" y="1087"/>
                  </a:lnTo>
                  <a:lnTo>
                    <a:pt x="232" y="988"/>
                  </a:lnTo>
                  <a:lnTo>
                    <a:pt x="207" y="887"/>
                  </a:lnTo>
                  <a:lnTo>
                    <a:pt x="186" y="843"/>
                  </a:lnTo>
                  <a:lnTo>
                    <a:pt x="166" y="799"/>
                  </a:lnTo>
                  <a:lnTo>
                    <a:pt x="147" y="756"/>
                  </a:lnTo>
                  <a:lnTo>
                    <a:pt x="127" y="713"/>
                  </a:lnTo>
                  <a:lnTo>
                    <a:pt x="107" y="669"/>
                  </a:lnTo>
                  <a:lnTo>
                    <a:pt x="87" y="625"/>
                  </a:lnTo>
                  <a:lnTo>
                    <a:pt x="67" y="582"/>
                  </a:lnTo>
                  <a:lnTo>
                    <a:pt x="49" y="539"/>
                  </a:lnTo>
                  <a:lnTo>
                    <a:pt x="45" y="510"/>
                  </a:lnTo>
                  <a:lnTo>
                    <a:pt x="40" y="483"/>
                  </a:lnTo>
                  <a:lnTo>
                    <a:pt x="34" y="457"/>
                  </a:lnTo>
                  <a:lnTo>
                    <a:pt x="28" y="431"/>
                  </a:lnTo>
                  <a:lnTo>
                    <a:pt x="20" y="404"/>
                  </a:lnTo>
                  <a:lnTo>
                    <a:pt x="13" y="378"/>
                  </a:lnTo>
                  <a:lnTo>
                    <a:pt x="5" y="352"/>
                  </a:lnTo>
                  <a:lnTo>
                    <a:pt x="0" y="326"/>
                  </a:lnTo>
                  <a:lnTo>
                    <a:pt x="0" y="284"/>
                  </a:lnTo>
                  <a:lnTo>
                    <a:pt x="3" y="242"/>
                  </a:lnTo>
                  <a:lnTo>
                    <a:pt x="7" y="200"/>
                  </a:lnTo>
                  <a:lnTo>
                    <a:pt x="12" y="160"/>
                  </a:lnTo>
                  <a:lnTo>
                    <a:pt x="17" y="117"/>
                  </a:lnTo>
                  <a:lnTo>
                    <a:pt x="24" y="77"/>
                  </a:lnTo>
                  <a:lnTo>
                    <a:pt x="30" y="38"/>
                  </a:lnTo>
                  <a:lnTo>
                    <a:pt x="39" y="0"/>
                  </a:lnTo>
                  <a:lnTo>
                    <a:pt x="44" y="4"/>
                  </a:lnTo>
                  <a:lnTo>
                    <a:pt x="48" y="11"/>
                  </a:lnTo>
                  <a:lnTo>
                    <a:pt x="51" y="17"/>
                  </a:lnTo>
                  <a:lnTo>
                    <a:pt x="54" y="25"/>
                  </a:lnTo>
                  <a:lnTo>
                    <a:pt x="55" y="33"/>
                  </a:lnTo>
                  <a:lnTo>
                    <a:pt x="58" y="41"/>
                  </a:lnTo>
                  <a:lnTo>
                    <a:pt x="59" y="50"/>
                  </a:lnTo>
                  <a:lnTo>
                    <a:pt x="60" y="60"/>
                  </a:lnTo>
                  <a:close/>
                </a:path>
              </a:pathLst>
            </a:custGeom>
            <a:solidFill>
              <a:srgbClr val="000000"/>
            </a:solidFill>
            <a:ln w="9525">
              <a:noFill/>
              <a:round/>
              <a:headEnd/>
              <a:tailEnd/>
            </a:ln>
          </p:spPr>
          <p:txBody>
            <a:bodyPr/>
            <a:lstStyle/>
            <a:p>
              <a:pPr>
                <a:defRPr/>
              </a:pPr>
              <a:endParaRPr lang="en-US" dirty="0">
                <a:cs typeface="+mn-cs"/>
              </a:endParaRPr>
            </a:p>
          </p:txBody>
        </p:sp>
        <p:grpSp>
          <p:nvGrpSpPr>
            <p:cNvPr id="7" name="Group 1095"/>
            <p:cNvGrpSpPr>
              <a:grpSpLocks/>
            </p:cNvGrpSpPr>
            <p:nvPr/>
          </p:nvGrpSpPr>
          <p:grpSpPr bwMode="auto">
            <a:xfrm>
              <a:off x="4088" y="2273"/>
              <a:ext cx="741" cy="1441"/>
              <a:chOff x="4088" y="2273"/>
              <a:chExt cx="741" cy="1441"/>
            </a:xfrm>
          </p:grpSpPr>
          <p:sp>
            <p:nvSpPr>
              <p:cNvPr id="50" name="Freeform 1096"/>
              <p:cNvSpPr>
                <a:spLocks/>
              </p:cNvSpPr>
              <p:nvPr/>
            </p:nvSpPr>
            <p:spPr bwMode="auto">
              <a:xfrm>
                <a:off x="4126" y="2273"/>
                <a:ext cx="653" cy="1268"/>
              </a:xfrm>
              <a:custGeom>
                <a:avLst/>
                <a:gdLst>
                  <a:gd name="T0" fmla="*/ 0 w 2613"/>
                  <a:gd name="T1" fmla="*/ 0 h 5071"/>
                  <a:gd name="T2" fmla="*/ 0 w 2613"/>
                  <a:gd name="T3" fmla="*/ 0 h 5071"/>
                  <a:gd name="T4" fmla="*/ 0 w 2613"/>
                  <a:gd name="T5" fmla="*/ 0 h 5071"/>
                  <a:gd name="T6" fmla="*/ 0 w 2613"/>
                  <a:gd name="T7" fmla="*/ 0 h 5071"/>
                  <a:gd name="T8" fmla="*/ 0 w 2613"/>
                  <a:gd name="T9" fmla="*/ 0 h 5071"/>
                  <a:gd name="T10" fmla="*/ 0 w 2613"/>
                  <a:gd name="T11" fmla="*/ 0 h 5071"/>
                  <a:gd name="T12" fmla="*/ 0 w 2613"/>
                  <a:gd name="T13" fmla="*/ 0 h 5071"/>
                  <a:gd name="T14" fmla="*/ 0 w 2613"/>
                  <a:gd name="T15" fmla="*/ 0 h 5071"/>
                  <a:gd name="T16" fmla="*/ 0 w 2613"/>
                  <a:gd name="T17" fmla="*/ 0 h 5071"/>
                  <a:gd name="T18" fmla="*/ 0 w 2613"/>
                  <a:gd name="T19" fmla="*/ 0 h 5071"/>
                  <a:gd name="T20" fmla="*/ 0 w 2613"/>
                  <a:gd name="T21" fmla="*/ 0 h 5071"/>
                  <a:gd name="T22" fmla="*/ 0 w 2613"/>
                  <a:gd name="T23" fmla="*/ 0 h 5071"/>
                  <a:gd name="T24" fmla="*/ 0 w 2613"/>
                  <a:gd name="T25" fmla="*/ 0 h 5071"/>
                  <a:gd name="T26" fmla="*/ 0 w 2613"/>
                  <a:gd name="T27" fmla="*/ 0 h 5071"/>
                  <a:gd name="T28" fmla="*/ 0 w 2613"/>
                  <a:gd name="T29" fmla="*/ 0 h 5071"/>
                  <a:gd name="T30" fmla="*/ 0 w 2613"/>
                  <a:gd name="T31" fmla="*/ 0 h 5071"/>
                  <a:gd name="T32" fmla="*/ 0 w 2613"/>
                  <a:gd name="T33" fmla="*/ 0 h 5071"/>
                  <a:gd name="T34" fmla="*/ 0 w 2613"/>
                  <a:gd name="T35" fmla="*/ 0 h 5071"/>
                  <a:gd name="T36" fmla="*/ 0 w 2613"/>
                  <a:gd name="T37" fmla="*/ 0 h 5071"/>
                  <a:gd name="T38" fmla="*/ 0 w 2613"/>
                  <a:gd name="T39" fmla="*/ 0 h 5071"/>
                  <a:gd name="T40" fmla="*/ 0 w 2613"/>
                  <a:gd name="T41" fmla="*/ 0 h 5071"/>
                  <a:gd name="T42" fmla="*/ 0 w 2613"/>
                  <a:gd name="T43" fmla="*/ 0 h 5071"/>
                  <a:gd name="T44" fmla="*/ 0 w 2613"/>
                  <a:gd name="T45" fmla="*/ 0 h 5071"/>
                  <a:gd name="T46" fmla="*/ 0 w 2613"/>
                  <a:gd name="T47" fmla="*/ 0 h 5071"/>
                  <a:gd name="T48" fmla="*/ 0 w 2613"/>
                  <a:gd name="T49" fmla="*/ 0 h 5071"/>
                  <a:gd name="T50" fmla="*/ 0 w 2613"/>
                  <a:gd name="T51" fmla="*/ 0 h 5071"/>
                  <a:gd name="T52" fmla="*/ 0 w 2613"/>
                  <a:gd name="T53" fmla="*/ 0 h 5071"/>
                  <a:gd name="T54" fmla="*/ 0 w 2613"/>
                  <a:gd name="T55" fmla="*/ 0 h 5071"/>
                  <a:gd name="T56" fmla="*/ 0 w 2613"/>
                  <a:gd name="T57" fmla="*/ 0 h 5071"/>
                  <a:gd name="T58" fmla="*/ 0 w 2613"/>
                  <a:gd name="T59" fmla="*/ 0 h 5071"/>
                  <a:gd name="T60" fmla="*/ 0 w 2613"/>
                  <a:gd name="T61" fmla="*/ 0 h 5071"/>
                  <a:gd name="T62" fmla="*/ 0 w 2613"/>
                  <a:gd name="T63" fmla="*/ 0 h 5071"/>
                  <a:gd name="T64" fmla="*/ 0 w 2613"/>
                  <a:gd name="T65" fmla="*/ 0 h 5071"/>
                  <a:gd name="T66" fmla="*/ 0 w 2613"/>
                  <a:gd name="T67" fmla="*/ 0 h 5071"/>
                  <a:gd name="T68" fmla="*/ 0 w 2613"/>
                  <a:gd name="T69" fmla="*/ 0 h 5071"/>
                  <a:gd name="T70" fmla="*/ 0 w 2613"/>
                  <a:gd name="T71" fmla="*/ 0 h 5071"/>
                  <a:gd name="T72" fmla="*/ 0 w 2613"/>
                  <a:gd name="T73" fmla="*/ 0 h 5071"/>
                  <a:gd name="T74" fmla="*/ 0 w 2613"/>
                  <a:gd name="T75" fmla="*/ 0 h 5071"/>
                  <a:gd name="T76" fmla="*/ 0 w 2613"/>
                  <a:gd name="T77" fmla="*/ 0 h 5071"/>
                  <a:gd name="T78" fmla="*/ 0 w 2613"/>
                  <a:gd name="T79" fmla="*/ 0 h 5071"/>
                  <a:gd name="T80" fmla="*/ 0 w 2613"/>
                  <a:gd name="T81" fmla="*/ 0 h 5071"/>
                  <a:gd name="T82" fmla="*/ 0 w 2613"/>
                  <a:gd name="T83" fmla="*/ 0 h 5071"/>
                  <a:gd name="T84" fmla="*/ 0 w 2613"/>
                  <a:gd name="T85" fmla="*/ 0 h 5071"/>
                  <a:gd name="T86" fmla="*/ 0 w 2613"/>
                  <a:gd name="T87" fmla="*/ 0 h 5071"/>
                  <a:gd name="T88" fmla="*/ 0 w 2613"/>
                  <a:gd name="T89" fmla="*/ 0 h 5071"/>
                  <a:gd name="T90" fmla="*/ 0 w 2613"/>
                  <a:gd name="T91" fmla="*/ 0 h 5071"/>
                  <a:gd name="T92" fmla="*/ 0 w 2613"/>
                  <a:gd name="T93" fmla="*/ 0 h 5071"/>
                  <a:gd name="T94" fmla="*/ 0 w 2613"/>
                  <a:gd name="T95" fmla="*/ 0 h 5071"/>
                  <a:gd name="T96" fmla="*/ 0 w 2613"/>
                  <a:gd name="T97" fmla="*/ 0 h 5071"/>
                  <a:gd name="T98" fmla="*/ 0 w 2613"/>
                  <a:gd name="T99" fmla="*/ 0 h 5071"/>
                  <a:gd name="T100" fmla="*/ 0 w 2613"/>
                  <a:gd name="T101" fmla="*/ 0 h 5071"/>
                  <a:gd name="T102" fmla="*/ 0 w 2613"/>
                  <a:gd name="T103" fmla="*/ 0 h 5071"/>
                  <a:gd name="T104" fmla="*/ 0 w 2613"/>
                  <a:gd name="T105" fmla="*/ 0 h 5071"/>
                  <a:gd name="T106" fmla="*/ 0 w 2613"/>
                  <a:gd name="T107" fmla="*/ 0 h 5071"/>
                  <a:gd name="T108" fmla="*/ 0 w 2613"/>
                  <a:gd name="T109" fmla="*/ 0 h 507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13"/>
                  <a:gd name="T166" fmla="*/ 0 h 5071"/>
                  <a:gd name="T167" fmla="*/ 2613 w 2613"/>
                  <a:gd name="T168" fmla="*/ 5071 h 507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13" h="5071">
                    <a:moveTo>
                      <a:pt x="165" y="321"/>
                    </a:moveTo>
                    <a:lnTo>
                      <a:pt x="173" y="347"/>
                    </a:lnTo>
                    <a:lnTo>
                      <a:pt x="184" y="373"/>
                    </a:lnTo>
                    <a:lnTo>
                      <a:pt x="197" y="398"/>
                    </a:lnTo>
                    <a:lnTo>
                      <a:pt x="210" y="424"/>
                    </a:lnTo>
                    <a:lnTo>
                      <a:pt x="222" y="448"/>
                    </a:lnTo>
                    <a:lnTo>
                      <a:pt x="234" y="474"/>
                    </a:lnTo>
                    <a:lnTo>
                      <a:pt x="245" y="499"/>
                    </a:lnTo>
                    <a:lnTo>
                      <a:pt x="254" y="528"/>
                    </a:lnTo>
                    <a:lnTo>
                      <a:pt x="297" y="590"/>
                    </a:lnTo>
                    <a:lnTo>
                      <a:pt x="340" y="654"/>
                    </a:lnTo>
                    <a:lnTo>
                      <a:pt x="384" y="719"/>
                    </a:lnTo>
                    <a:lnTo>
                      <a:pt x="427" y="784"/>
                    </a:lnTo>
                    <a:lnTo>
                      <a:pt x="472" y="847"/>
                    </a:lnTo>
                    <a:lnTo>
                      <a:pt x="520" y="909"/>
                    </a:lnTo>
                    <a:lnTo>
                      <a:pt x="571" y="967"/>
                    </a:lnTo>
                    <a:lnTo>
                      <a:pt x="626" y="1022"/>
                    </a:lnTo>
                    <a:lnTo>
                      <a:pt x="655" y="1054"/>
                    </a:lnTo>
                    <a:lnTo>
                      <a:pt x="681" y="1087"/>
                    </a:lnTo>
                    <a:lnTo>
                      <a:pt x="704" y="1122"/>
                    </a:lnTo>
                    <a:lnTo>
                      <a:pt x="727" y="1159"/>
                    </a:lnTo>
                    <a:lnTo>
                      <a:pt x="749" y="1195"/>
                    </a:lnTo>
                    <a:lnTo>
                      <a:pt x="773" y="1232"/>
                    </a:lnTo>
                    <a:lnTo>
                      <a:pt x="796" y="1268"/>
                    </a:lnTo>
                    <a:lnTo>
                      <a:pt x="823" y="1304"/>
                    </a:lnTo>
                    <a:lnTo>
                      <a:pt x="844" y="1355"/>
                    </a:lnTo>
                    <a:lnTo>
                      <a:pt x="868" y="1405"/>
                    </a:lnTo>
                    <a:lnTo>
                      <a:pt x="894" y="1454"/>
                    </a:lnTo>
                    <a:lnTo>
                      <a:pt x="923" y="1503"/>
                    </a:lnTo>
                    <a:lnTo>
                      <a:pt x="953" y="1549"/>
                    </a:lnTo>
                    <a:lnTo>
                      <a:pt x="986" y="1596"/>
                    </a:lnTo>
                    <a:lnTo>
                      <a:pt x="1020" y="1642"/>
                    </a:lnTo>
                    <a:lnTo>
                      <a:pt x="1057" y="1689"/>
                    </a:lnTo>
                    <a:lnTo>
                      <a:pt x="1098" y="1752"/>
                    </a:lnTo>
                    <a:lnTo>
                      <a:pt x="1146" y="1815"/>
                    </a:lnTo>
                    <a:lnTo>
                      <a:pt x="1195" y="1875"/>
                    </a:lnTo>
                    <a:lnTo>
                      <a:pt x="1248" y="1935"/>
                    </a:lnTo>
                    <a:lnTo>
                      <a:pt x="1300" y="1995"/>
                    </a:lnTo>
                    <a:lnTo>
                      <a:pt x="1354" y="2055"/>
                    </a:lnTo>
                    <a:lnTo>
                      <a:pt x="1406" y="2116"/>
                    </a:lnTo>
                    <a:lnTo>
                      <a:pt x="1457" y="2179"/>
                    </a:lnTo>
                    <a:lnTo>
                      <a:pt x="1469" y="2185"/>
                    </a:lnTo>
                    <a:lnTo>
                      <a:pt x="1482" y="2196"/>
                    </a:lnTo>
                    <a:lnTo>
                      <a:pt x="1493" y="2207"/>
                    </a:lnTo>
                    <a:lnTo>
                      <a:pt x="1505" y="2220"/>
                    </a:lnTo>
                    <a:lnTo>
                      <a:pt x="1515" y="2233"/>
                    </a:lnTo>
                    <a:lnTo>
                      <a:pt x="1524" y="2246"/>
                    </a:lnTo>
                    <a:lnTo>
                      <a:pt x="1534" y="2259"/>
                    </a:lnTo>
                    <a:lnTo>
                      <a:pt x="1545" y="2274"/>
                    </a:lnTo>
                    <a:lnTo>
                      <a:pt x="1565" y="2303"/>
                    </a:lnTo>
                    <a:lnTo>
                      <a:pt x="1585" y="2334"/>
                    </a:lnTo>
                    <a:lnTo>
                      <a:pt x="1605" y="2365"/>
                    </a:lnTo>
                    <a:lnTo>
                      <a:pt x="1626" y="2396"/>
                    </a:lnTo>
                    <a:lnTo>
                      <a:pt x="1645" y="2426"/>
                    </a:lnTo>
                    <a:lnTo>
                      <a:pt x="1667" y="2456"/>
                    </a:lnTo>
                    <a:lnTo>
                      <a:pt x="1688" y="2484"/>
                    </a:lnTo>
                    <a:lnTo>
                      <a:pt x="1709" y="2514"/>
                    </a:lnTo>
                    <a:lnTo>
                      <a:pt x="1721" y="2513"/>
                    </a:lnTo>
                    <a:lnTo>
                      <a:pt x="1731" y="2515"/>
                    </a:lnTo>
                    <a:lnTo>
                      <a:pt x="1738" y="2520"/>
                    </a:lnTo>
                    <a:lnTo>
                      <a:pt x="1744" y="2530"/>
                    </a:lnTo>
                    <a:lnTo>
                      <a:pt x="1748" y="2539"/>
                    </a:lnTo>
                    <a:lnTo>
                      <a:pt x="1754" y="2549"/>
                    </a:lnTo>
                    <a:lnTo>
                      <a:pt x="1758" y="2557"/>
                    </a:lnTo>
                    <a:lnTo>
                      <a:pt x="1765" y="2566"/>
                    </a:lnTo>
                    <a:lnTo>
                      <a:pt x="1766" y="2586"/>
                    </a:lnTo>
                    <a:lnTo>
                      <a:pt x="1769" y="2606"/>
                    </a:lnTo>
                    <a:lnTo>
                      <a:pt x="1772" y="2626"/>
                    </a:lnTo>
                    <a:lnTo>
                      <a:pt x="1777" y="2645"/>
                    </a:lnTo>
                    <a:lnTo>
                      <a:pt x="1781" y="2663"/>
                    </a:lnTo>
                    <a:lnTo>
                      <a:pt x="1788" y="2680"/>
                    </a:lnTo>
                    <a:lnTo>
                      <a:pt x="1796" y="2696"/>
                    </a:lnTo>
                    <a:lnTo>
                      <a:pt x="1808" y="2713"/>
                    </a:lnTo>
                    <a:lnTo>
                      <a:pt x="1814" y="2724"/>
                    </a:lnTo>
                    <a:lnTo>
                      <a:pt x="1821" y="2734"/>
                    </a:lnTo>
                    <a:lnTo>
                      <a:pt x="1829" y="2745"/>
                    </a:lnTo>
                    <a:lnTo>
                      <a:pt x="1839" y="2756"/>
                    </a:lnTo>
                    <a:lnTo>
                      <a:pt x="1847" y="2767"/>
                    </a:lnTo>
                    <a:lnTo>
                      <a:pt x="1857" y="2778"/>
                    </a:lnTo>
                    <a:lnTo>
                      <a:pt x="1865" y="2789"/>
                    </a:lnTo>
                    <a:lnTo>
                      <a:pt x="1872" y="2802"/>
                    </a:lnTo>
                    <a:lnTo>
                      <a:pt x="1917" y="2887"/>
                    </a:lnTo>
                    <a:lnTo>
                      <a:pt x="1960" y="2974"/>
                    </a:lnTo>
                    <a:lnTo>
                      <a:pt x="2003" y="3061"/>
                    </a:lnTo>
                    <a:lnTo>
                      <a:pt x="2043" y="3150"/>
                    </a:lnTo>
                    <a:lnTo>
                      <a:pt x="2079" y="3238"/>
                    </a:lnTo>
                    <a:lnTo>
                      <a:pt x="2113" y="3330"/>
                    </a:lnTo>
                    <a:lnTo>
                      <a:pt x="2141" y="3422"/>
                    </a:lnTo>
                    <a:lnTo>
                      <a:pt x="2166" y="3517"/>
                    </a:lnTo>
                    <a:lnTo>
                      <a:pt x="2206" y="3639"/>
                    </a:lnTo>
                    <a:lnTo>
                      <a:pt x="2241" y="3765"/>
                    </a:lnTo>
                    <a:lnTo>
                      <a:pt x="2271" y="3891"/>
                    </a:lnTo>
                    <a:lnTo>
                      <a:pt x="2300" y="4021"/>
                    </a:lnTo>
                    <a:lnTo>
                      <a:pt x="2326" y="4148"/>
                    </a:lnTo>
                    <a:lnTo>
                      <a:pt x="2356" y="4276"/>
                    </a:lnTo>
                    <a:lnTo>
                      <a:pt x="2391" y="4401"/>
                    </a:lnTo>
                    <a:lnTo>
                      <a:pt x="2433" y="4525"/>
                    </a:lnTo>
                    <a:lnTo>
                      <a:pt x="2445" y="4567"/>
                    </a:lnTo>
                    <a:lnTo>
                      <a:pt x="2458" y="4611"/>
                    </a:lnTo>
                    <a:lnTo>
                      <a:pt x="2473" y="4653"/>
                    </a:lnTo>
                    <a:lnTo>
                      <a:pt x="2488" y="4698"/>
                    </a:lnTo>
                    <a:lnTo>
                      <a:pt x="2501" y="4740"/>
                    </a:lnTo>
                    <a:lnTo>
                      <a:pt x="2515" y="4785"/>
                    </a:lnTo>
                    <a:lnTo>
                      <a:pt x="2527" y="4830"/>
                    </a:lnTo>
                    <a:lnTo>
                      <a:pt x="2537" y="4876"/>
                    </a:lnTo>
                    <a:lnTo>
                      <a:pt x="2613" y="5071"/>
                    </a:lnTo>
                    <a:lnTo>
                      <a:pt x="2585" y="5022"/>
                    </a:lnTo>
                    <a:lnTo>
                      <a:pt x="2556" y="4975"/>
                    </a:lnTo>
                    <a:lnTo>
                      <a:pt x="2527" y="4927"/>
                    </a:lnTo>
                    <a:lnTo>
                      <a:pt x="2498" y="4880"/>
                    </a:lnTo>
                    <a:lnTo>
                      <a:pt x="2469" y="4832"/>
                    </a:lnTo>
                    <a:lnTo>
                      <a:pt x="2444" y="4784"/>
                    </a:lnTo>
                    <a:lnTo>
                      <a:pt x="2421" y="4733"/>
                    </a:lnTo>
                    <a:lnTo>
                      <a:pt x="2404" y="4681"/>
                    </a:lnTo>
                    <a:lnTo>
                      <a:pt x="2364" y="4590"/>
                    </a:lnTo>
                    <a:lnTo>
                      <a:pt x="2324" y="4499"/>
                    </a:lnTo>
                    <a:lnTo>
                      <a:pt x="2281" y="4409"/>
                    </a:lnTo>
                    <a:lnTo>
                      <a:pt x="2239" y="4321"/>
                    </a:lnTo>
                    <a:lnTo>
                      <a:pt x="2194" y="4231"/>
                    </a:lnTo>
                    <a:lnTo>
                      <a:pt x="2150" y="4143"/>
                    </a:lnTo>
                    <a:lnTo>
                      <a:pt x="2103" y="4055"/>
                    </a:lnTo>
                    <a:lnTo>
                      <a:pt x="2056" y="3968"/>
                    </a:lnTo>
                    <a:lnTo>
                      <a:pt x="2037" y="3918"/>
                    </a:lnTo>
                    <a:lnTo>
                      <a:pt x="2017" y="3869"/>
                    </a:lnTo>
                    <a:lnTo>
                      <a:pt x="1997" y="3820"/>
                    </a:lnTo>
                    <a:lnTo>
                      <a:pt x="1978" y="3773"/>
                    </a:lnTo>
                    <a:lnTo>
                      <a:pt x="1955" y="3724"/>
                    </a:lnTo>
                    <a:lnTo>
                      <a:pt x="1932" y="3677"/>
                    </a:lnTo>
                    <a:lnTo>
                      <a:pt x="1905" y="3630"/>
                    </a:lnTo>
                    <a:lnTo>
                      <a:pt x="1877" y="3586"/>
                    </a:lnTo>
                    <a:lnTo>
                      <a:pt x="1843" y="3541"/>
                    </a:lnTo>
                    <a:lnTo>
                      <a:pt x="1813" y="3498"/>
                    </a:lnTo>
                    <a:lnTo>
                      <a:pt x="1783" y="3453"/>
                    </a:lnTo>
                    <a:lnTo>
                      <a:pt x="1756" y="3408"/>
                    </a:lnTo>
                    <a:lnTo>
                      <a:pt x="1727" y="3363"/>
                    </a:lnTo>
                    <a:lnTo>
                      <a:pt x="1699" y="3318"/>
                    </a:lnTo>
                    <a:lnTo>
                      <a:pt x="1670" y="3273"/>
                    </a:lnTo>
                    <a:lnTo>
                      <a:pt x="1641" y="3229"/>
                    </a:lnTo>
                    <a:lnTo>
                      <a:pt x="1631" y="3205"/>
                    </a:lnTo>
                    <a:lnTo>
                      <a:pt x="1620" y="3183"/>
                    </a:lnTo>
                    <a:lnTo>
                      <a:pt x="1608" y="3162"/>
                    </a:lnTo>
                    <a:lnTo>
                      <a:pt x="1596" y="3141"/>
                    </a:lnTo>
                    <a:lnTo>
                      <a:pt x="1583" y="3119"/>
                    </a:lnTo>
                    <a:lnTo>
                      <a:pt x="1570" y="3098"/>
                    </a:lnTo>
                    <a:lnTo>
                      <a:pt x="1559" y="3076"/>
                    </a:lnTo>
                    <a:lnTo>
                      <a:pt x="1552" y="3054"/>
                    </a:lnTo>
                    <a:lnTo>
                      <a:pt x="1514" y="3005"/>
                    </a:lnTo>
                    <a:lnTo>
                      <a:pt x="1478" y="2957"/>
                    </a:lnTo>
                    <a:lnTo>
                      <a:pt x="1442" y="2909"/>
                    </a:lnTo>
                    <a:lnTo>
                      <a:pt x="1408" y="2862"/>
                    </a:lnTo>
                    <a:lnTo>
                      <a:pt x="1374" y="2812"/>
                    </a:lnTo>
                    <a:lnTo>
                      <a:pt x="1343" y="2763"/>
                    </a:lnTo>
                    <a:lnTo>
                      <a:pt x="1311" y="2712"/>
                    </a:lnTo>
                    <a:lnTo>
                      <a:pt x="1283" y="2661"/>
                    </a:lnTo>
                    <a:lnTo>
                      <a:pt x="1244" y="2597"/>
                    </a:lnTo>
                    <a:lnTo>
                      <a:pt x="1208" y="2536"/>
                    </a:lnTo>
                    <a:lnTo>
                      <a:pt x="1173" y="2471"/>
                    </a:lnTo>
                    <a:lnTo>
                      <a:pt x="1141" y="2408"/>
                    </a:lnTo>
                    <a:lnTo>
                      <a:pt x="1107" y="2344"/>
                    </a:lnTo>
                    <a:lnTo>
                      <a:pt x="1073" y="2281"/>
                    </a:lnTo>
                    <a:lnTo>
                      <a:pt x="1037" y="2218"/>
                    </a:lnTo>
                    <a:lnTo>
                      <a:pt x="1001" y="2156"/>
                    </a:lnTo>
                    <a:lnTo>
                      <a:pt x="969" y="2098"/>
                    </a:lnTo>
                    <a:lnTo>
                      <a:pt x="938" y="2042"/>
                    </a:lnTo>
                    <a:lnTo>
                      <a:pt x="909" y="1983"/>
                    </a:lnTo>
                    <a:lnTo>
                      <a:pt x="881" y="1926"/>
                    </a:lnTo>
                    <a:lnTo>
                      <a:pt x="852" y="1867"/>
                    </a:lnTo>
                    <a:lnTo>
                      <a:pt x="825" y="1809"/>
                    </a:lnTo>
                    <a:lnTo>
                      <a:pt x="797" y="1751"/>
                    </a:lnTo>
                    <a:lnTo>
                      <a:pt x="770" y="1693"/>
                    </a:lnTo>
                    <a:lnTo>
                      <a:pt x="758" y="1689"/>
                    </a:lnTo>
                    <a:lnTo>
                      <a:pt x="750" y="1683"/>
                    </a:lnTo>
                    <a:lnTo>
                      <a:pt x="743" y="1676"/>
                    </a:lnTo>
                    <a:lnTo>
                      <a:pt x="738" y="1668"/>
                    </a:lnTo>
                    <a:lnTo>
                      <a:pt x="733" y="1658"/>
                    </a:lnTo>
                    <a:lnTo>
                      <a:pt x="729" y="1649"/>
                    </a:lnTo>
                    <a:lnTo>
                      <a:pt x="724" y="1640"/>
                    </a:lnTo>
                    <a:lnTo>
                      <a:pt x="720" y="1632"/>
                    </a:lnTo>
                    <a:lnTo>
                      <a:pt x="726" y="1614"/>
                    </a:lnTo>
                    <a:lnTo>
                      <a:pt x="694" y="1540"/>
                    </a:lnTo>
                    <a:lnTo>
                      <a:pt x="662" y="1468"/>
                    </a:lnTo>
                    <a:lnTo>
                      <a:pt x="628" y="1396"/>
                    </a:lnTo>
                    <a:lnTo>
                      <a:pt x="595" y="1324"/>
                    </a:lnTo>
                    <a:lnTo>
                      <a:pt x="560" y="1253"/>
                    </a:lnTo>
                    <a:lnTo>
                      <a:pt x="526" y="1181"/>
                    </a:lnTo>
                    <a:lnTo>
                      <a:pt x="491" y="1109"/>
                    </a:lnTo>
                    <a:lnTo>
                      <a:pt x="459" y="1039"/>
                    </a:lnTo>
                    <a:lnTo>
                      <a:pt x="424" y="996"/>
                    </a:lnTo>
                    <a:lnTo>
                      <a:pt x="393" y="954"/>
                    </a:lnTo>
                    <a:lnTo>
                      <a:pt x="362" y="910"/>
                    </a:lnTo>
                    <a:lnTo>
                      <a:pt x="336" y="866"/>
                    </a:lnTo>
                    <a:lnTo>
                      <a:pt x="311" y="819"/>
                    </a:lnTo>
                    <a:lnTo>
                      <a:pt x="289" y="771"/>
                    </a:lnTo>
                    <a:lnTo>
                      <a:pt x="270" y="722"/>
                    </a:lnTo>
                    <a:lnTo>
                      <a:pt x="254" y="674"/>
                    </a:lnTo>
                    <a:lnTo>
                      <a:pt x="244" y="646"/>
                    </a:lnTo>
                    <a:lnTo>
                      <a:pt x="236" y="618"/>
                    </a:lnTo>
                    <a:lnTo>
                      <a:pt x="227" y="590"/>
                    </a:lnTo>
                    <a:lnTo>
                      <a:pt x="221" y="561"/>
                    </a:lnTo>
                    <a:lnTo>
                      <a:pt x="213" y="532"/>
                    </a:lnTo>
                    <a:lnTo>
                      <a:pt x="207" y="504"/>
                    </a:lnTo>
                    <a:lnTo>
                      <a:pt x="199" y="475"/>
                    </a:lnTo>
                    <a:lnTo>
                      <a:pt x="192" y="447"/>
                    </a:lnTo>
                    <a:lnTo>
                      <a:pt x="167" y="395"/>
                    </a:lnTo>
                    <a:lnTo>
                      <a:pt x="142" y="345"/>
                    </a:lnTo>
                    <a:lnTo>
                      <a:pt x="116" y="295"/>
                    </a:lnTo>
                    <a:lnTo>
                      <a:pt x="91" y="245"/>
                    </a:lnTo>
                    <a:lnTo>
                      <a:pt x="66" y="193"/>
                    </a:lnTo>
                    <a:lnTo>
                      <a:pt x="45" y="142"/>
                    </a:lnTo>
                    <a:lnTo>
                      <a:pt x="26" y="88"/>
                    </a:lnTo>
                    <a:lnTo>
                      <a:pt x="14" y="35"/>
                    </a:lnTo>
                    <a:lnTo>
                      <a:pt x="5" y="26"/>
                    </a:lnTo>
                    <a:lnTo>
                      <a:pt x="3" y="18"/>
                    </a:lnTo>
                    <a:lnTo>
                      <a:pt x="1" y="9"/>
                    </a:lnTo>
                    <a:lnTo>
                      <a:pt x="0" y="0"/>
                    </a:lnTo>
                    <a:lnTo>
                      <a:pt x="22" y="37"/>
                    </a:lnTo>
                    <a:lnTo>
                      <a:pt x="42" y="76"/>
                    </a:lnTo>
                    <a:lnTo>
                      <a:pt x="62" y="117"/>
                    </a:lnTo>
                    <a:lnTo>
                      <a:pt x="83" y="158"/>
                    </a:lnTo>
                    <a:lnTo>
                      <a:pt x="101" y="198"/>
                    </a:lnTo>
                    <a:lnTo>
                      <a:pt x="121" y="239"/>
                    </a:lnTo>
                    <a:lnTo>
                      <a:pt x="141" y="280"/>
                    </a:lnTo>
                    <a:lnTo>
                      <a:pt x="165" y="321"/>
                    </a:lnTo>
                    <a:close/>
                  </a:path>
                </a:pathLst>
              </a:custGeom>
              <a:solidFill>
                <a:srgbClr val="B31A00"/>
              </a:solidFill>
              <a:ln w="9525">
                <a:noFill/>
                <a:round/>
                <a:headEnd/>
                <a:tailEnd/>
              </a:ln>
            </p:spPr>
            <p:txBody>
              <a:bodyPr/>
              <a:lstStyle/>
              <a:p>
                <a:pPr>
                  <a:defRPr/>
                </a:pPr>
                <a:endParaRPr lang="en-US" dirty="0">
                  <a:cs typeface="+mn-cs"/>
                </a:endParaRPr>
              </a:p>
            </p:txBody>
          </p:sp>
          <p:sp>
            <p:nvSpPr>
              <p:cNvPr id="51" name="Freeform 1097"/>
              <p:cNvSpPr>
                <a:spLocks/>
              </p:cNvSpPr>
              <p:nvPr/>
            </p:nvSpPr>
            <p:spPr bwMode="auto">
              <a:xfrm>
                <a:off x="4088" y="2350"/>
                <a:ext cx="634" cy="1364"/>
              </a:xfrm>
              <a:custGeom>
                <a:avLst/>
                <a:gdLst>
                  <a:gd name="T0" fmla="*/ 0 w 2534"/>
                  <a:gd name="T1" fmla="*/ 0 h 5456"/>
                  <a:gd name="T2" fmla="*/ 0 w 2534"/>
                  <a:gd name="T3" fmla="*/ 0 h 5456"/>
                  <a:gd name="T4" fmla="*/ 0 w 2534"/>
                  <a:gd name="T5" fmla="*/ 0 h 5456"/>
                  <a:gd name="T6" fmla="*/ 0 w 2534"/>
                  <a:gd name="T7" fmla="*/ 0 h 5456"/>
                  <a:gd name="T8" fmla="*/ 0 w 2534"/>
                  <a:gd name="T9" fmla="*/ 0 h 5456"/>
                  <a:gd name="T10" fmla="*/ 0 w 2534"/>
                  <a:gd name="T11" fmla="*/ 0 h 5456"/>
                  <a:gd name="T12" fmla="*/ 0 w 2534"/>
                  <a:gd name="T13" fmla="*/ 0 h 5456"/>
                  <a:gd name="T14" fmla="*/ 0 w 2534"/>
                  <a:gd name="T15" fmla="*/ 0 h 5456"/>
                  <a:gd name="T16" fmla="*/ 0 w 2534"/>
                  <a:gd name="T17" fmla="*/ 0 h 5456"/>
                  <a:gd name="T18" fmla="*/ 0 w 2534"/>
                  <a:gd name="T19" fmla="*/ 0 h 5456"/>
                  <a:gd name="T20" fmla="*/ 0 w 2534"/>
                  <a:gd name="T21" fmla="*/ 0 h 5456"/>
                  <a:gd name="T22" fmla="*/ 0 w 2534"/>
                  <a:gd name="T23" fmla="*/ 0 h 5456"/>
                  <a:gd name="T24" fmla="*/ 0 w 2534"/>
                  <a:gd name="T25" fmla="*/ 0 h 5456"/>
                  <a:gd name="T26" fmla="*/ 0 w 2534"/>
                  <a:gd name="T27" fmla="*/ 0 h 5456"/>
                  <a:gd name="T28" fmla="*/ 0 w 2534"/>
                  <a:gd name="T29" fmla="*/ 0 h 5456"/>
                  <a:gd name="T30" fmla="*/ 0 w 2534"/>
                  <a:gd name="T31" fmla="*/ 0 h 5456"/>
                  <a:gd name="T32" fmla="*/ 0 w 2534"/>
                  <a:gd name="T33" fmla="*/ 0 h 5456"/>
                  <a:gd name="T34" fmla="*/ 0 w 2534"/>
                  <a:gd name="T35" fmla="*/ 0 h 5456"/>
                  <a:gd name="T36" fmla="*/ 0 w 2534"/>
                  <a:gd name="T37" fmla="*/ 0 h 5456"/>
                  <a:gd name="T38" fmla="*/ 0 w 2534"/>
                  <a:gd name="T39" fmla="*/ 0 h 5456"/>
                  <a:gd name="T40" fmla="*/ 0 w 2534"/>
                  <a:gd name="T41" fmla="*/ 0 h 5456"/>
                  <a:gd name="T42" fmla="*/ 0 w 2534"/>
                  <a:gd name="T43" fmla="*/ 0 h 5456"/>
                  <a:gd name="T44" fmla="*/ 0 w 2534"/>
                  <a:gd name="T45" fmla="*/ 0 h 5456"/>
                  <a:gd name="T46" fmla="*/ 0 w 2534"/>
                  <a:gd name="T47" fmla="*/ 0 h 5456"/>
                  <a:gd name="T48" fmla="*/ 0 w 2534"/>
                  <a:gd name="T49" fmla="*/ 0 h 5456"/>
                  <a:gd name="T50" fmla="*/ 0 w 2534"/>
                  <a:gd name="T51" fmla="*/ 0 h 5456"/>
                  <a:gd name="T52" fmla="*/ 0 w 2534"/>
                  <a:gd name="T53" fmla="*/ 0 h 5456"/>
                  <a:gd name="T54" fmla="*/ 0 w 2534"/>
                  <a:gd name="T55" fmla="*/ 0 h 5456"/>
                  <a:gd name="T56" fmla="*/ 0 w 2534"/>
                  <a:gd name="T57" fmla="*/ 0 h 5456"/>
                  <a:gd name="T58" fmla="*/ 0 w 2534"/>
                  <a:gd name="T59" fmla="*/ 0 h 5456"/>
                  <a:gd name="T60" fmla="*/ 0 w 2534"/>
                  <a:gd name="T61" fmla="*/ 0 h 5456"/>
                  <a:gd name="T62" fmla="*/ 0 w 2534"/>
                  <a:gd name="T63" fmla="*/ 0 h 5456"/>
                  <a:gd name="T64" fmla="*/ 0 w 2534"/>
                  <a:gd name="T65" fmla="*/ 0 h 5456"/>
                  <a:gd name="T66" fmla="*/ 0 w 2534"/>
                  <a:gd name="T67" fmla="*/ 0 h 5456"/>
                  <a:gd name="T68" fmla="*/ 0 w 2534"/>
                  <a:gd name="T69" fmla="*/ 0 h 5456"/>
                  <a:gd name="T70" fmla="*/ 0 w 2534"/>
                  <a:gd name="T71" fmla="*/ 0 h 5456"/>
                  <a:gd name="T72" fmla="*/ 0 w 2534"/>
                  <a:gd name="T73" fmla="*/ 0 h 5456"/>
                  <a:gd name="T74" fmla="*/ 0 w 2534"/>
                  <a:gd name="T75" fmla="*/ 0 h 5456"/>
                  <a:gd name="T76" fmla="*/ 0 w 2534"/>
                  <a:gd name="T77" fmla="*/ 0 h 5456"/>
                  <a:gd name="T78" fmla="*/ 0 w 2534"/>
                  <a:gd name="T79" fmla="*/ 0 h 5456"/>
                  <a:gd name="T80" fmla="*/ 0 w 2534"/>
                  <a:gd name="T81" fmla="*/ 0 h 5456"/>
                  <a:gd name="T82" fmla="*/ 0 w 2534"/>
                  <a:gd name="T83" fmla="*/ 0 h 5456"/>
                  <a:gd name="T84" fmla="*/ 0 w 2534"/>
                  <a:gd name="T85" fmla="*/ 0 h 5456"/>
                  <a:gd name="T86" fmla="*/ 0 w 2534"/>
                  <a:gd name="T87" fmla="*/ 0 h 5456"/>
                  <a:gd name="T88" fmla="*/ 0 w 2534"/>
                  <a:gd name="T89" fmla="*/ 0 h 5456"/>
                  <a:gd name="T90" fmla="*/ 0 w 2534"/>
                  <a:gd name="T91" fmla="*/ 0 h 5456"/>
                  <a:gd name="T92" fmla="*/ 0 w 2534"/>
                  <a:gd name="T93" fmla="*/ 0 h 5456"/>
                  <a:gd name="T94" fmla="*/ 0 w 2534"/>
                  <a:gd name="T95" fmla="*/ 0 h 5456"/>
                  <a:gd name="T96" fmla="*/ 0 w 2534"/>
                  <a:gd name="T97" fmla="*/ 0 h 5456"/>
                  <a:gd name="T98" fmla="*/ 0 w 2534"/>
                  <a:gd name="T99" fmla="*/ 0 h 5456"/>
                  <a:gd name="T100" fmla="*/ 0 w 2534"/>
                  <a:gd name="T101" fmla="*/ 0 h 5456"/>
                  <a:gd name="T102" fmla="*/ 0 w 2534"/>
                  <a:gd name="T103" fmla="*/ 0 h 5456"/>
                  <a:gd name="T104" fmla="*/ 0 w 2534"/>
                  <a:gd name="T105" fmla="*/ 0 h 5456"/>
                  <a:gd name="T106" fmla="*/ 0 w 2534"/>
                  <a:gd name="T107" fmla="*/ 0 h 5456"/>
                  <a:gd name="T108" fmla="*/ 0 w 2534"/>
                  <a:gd name="T109" fmla="*/ 0 h 5456"/>
                  <a:gd name="T110" fmla="*/ 0 w 2534"/>
                  <a:gd name="T111" fmla="*/ 0 h 5456"/>
                  <a:gd name="T112" fmla="*/ 0 w 2534"/>
                  <a:gd name="T113" fmla="*/ 0 h 5456"/>
                  <a:gd name="T114" fmla="*/ 0 w 2534"/>
                  <a:gd name="T115" fmla="*/ 0 h 5456"/>
                  <a:gd name="T116" fmla="*/ 0 w 2534"/>
                  <a:gd name="T117" fmla="*/ 0 h 5456"/>
                  <a:gd name="T118" fmla="*/ 0 w 2534"/>
                  <a:gd name="T119" fmla="*/ 0 h 54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34"/>
                  <a:gd name="T181" fmla="*/ 0 h 5456"/>
                  <a:gd name="T182" fmla="*/ 2534 w 2534"/>
                  <a:gd name="T183" fmla="*/ 5456 h 54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34" h="5456">
                    <a:moveTo>
                      <a:pt x="87" y="45"/>
                    </a:moveTo>
                    <a:lnTo>
                      <a:pt x="90" y="68"/>
                    </a:lnTo>
                    <a:lnTo>
                      <a:pt x="93" y="91"/>
                    </a:lnTo>
                    <a:lnTo>
                      <a:pt x="94" y="114"/>
                    </a:lnTo>
                    <a:lnTo>
                      <a:pt x="97" y="138"/>
                    </a:lnTo>
                    <a:lnTo>
                      <a:pt x="97" y="161"/>
                    </a:lnTo>
                    <a:lnTo>
                      <a:pt x="99" y="184"/>
                    </a:lnTo>
                    <a:lnTo>
                      <a:pt x="101" y="206"/>
                    </a:lnTo>
                    <a:lnTo>
                      <a:pt x="108" y="230"/>
                    </a:lnTo>
                    <a:lnTo>
                      <a:pt x="103" y="257"/>
                    </a:lnTo>
                    <a:lnTo>
                      <a:pt x="98" y="285"/>
                    </a:lnTo>
                    <a:lnTo>
                      <a:pt x="89" y="310"/>
                    </a:lnTo>
                    <a:lnTo>
                      <a:pt x="81" y="336"/>
                    </a:lnTo>
                    <a:lnTo>
                      <a:pt x="73" y="361"/>
                    </a:lnTo>
                    <a:lnTo>
                      <a:pt x="66" y="388"/>
                    </a:lnTo>
                    <a:lnTo>
                      <a:pt x="61" y="414"/>
                    </a:lnTo>
                    <a:lnTo>
                      <a:pt x="60" y="443"/>
                    </a:lnTo>
                    <a:lnTo>
                      <a:pt x="73" y="479"/>
                    </a:lnTo>
                    <a:lnTo>
                      <a:pt x="87" y="518"/>
                    </a:lnTo>
                    <a:lnTo>
                      <a:pt x="99" y="556"/>
                    </a:lnTo>
                    <a:lnTo>
                      <a:pt x="112" y="596"/>
                    </a:lnTo>
                    <a:lnTo>
                      <a:pt x="125" y="633"/>
                    </a:lnTo>
                    <a:lnTo>
                      <a:pt x="141" y="671"/>
                    </a:lnTo>
                    <a:lnTo>
                      <a:pt x="160" y="705"/>
                    </a:lnTo>
                    <a:lnTo>
                      <a:pt x="184" y="741"/>
                    </a:lnTo>
                    <a:lnTo>
                      <a:pt x="190" y="762"/>
                    </a:lnTo>
                    <a:lnTo>
                      <a:pt x="201" y="783"/>
                    </a:lnTo>
                    <a:lnTo>
                      <a:pt x="213" y="802"/>
                    </a:lnTo>
                    <a:lnTo>
                      <a:pt x="226" y="823"/>
                    </a:lnTo>
                    <a:lnTo>
                      <a:pt x="237" y="842"/>
                    </a:lnTo>
                    <a:lnTo>
                      <a:pt x="248" y="864"/>
                    </a:lnTo>
                    <a:lnTo>
                      <a:pt x="254" y="886"/>
                    </a:lnTo>
                    <a:lnTo>
                      <a:pt x="259" y="911"/>
                    </a:lnTo>
                    <a:lnTo>
                      <a:pt x="290" y="1006"/>
                    </a:lnTo>
                    <a:lnTo>
                      <a:pt x="315" y="1105"/>
                    </a:lnTo>
                    <a:lnTo>
                      <a:pt x="335" y="1207"/>
                    </a:lnTo>
                    <a:lnTo>
                      <a:pt x="351" y="1311"/>
                    </a:lnTo>
                    <a:lnTo>
                      <a:pt x="365" y="1414"/>
                    </a:lnTo>
                    <a:lnTo>
                      <a:pt x="379" y="1517"/>
                    </a:lnTo>
                    <a:lnTo>
                      <a:pt x="393" y="1621"/>
                    </a:lnTo>
                    <a:lnTo>
                      <a:pt x="412" y="1722"/>
                    </a:lnTo>
                    <a:lnTo>
                      <a:pt x="470" y="2212"/>
                    </a:lnTo>
                    <a:lnTo>
                      <a:pt x="482" y="2228"/>
                    </a:lnTo>
                    <a:lnTo>
                      <a:pt x="499" y="2345"/>
                    </a:lnTo>
                    <a:lnTo>
                      <a:pt x="522" y="2462"/>
                    </a:lnTo>
                    <a:lnTo>
                      <a:pt x="548" y="2576"/>
                    </a:lnTo>
                    <a:lnTo>
                      <a:pt x="577" y="2692"/>
                    </a:lnTo>
                    <a:lnTo>
                      <a:pt x="609" y="2802"/>
                    </a:lnTo>
                    <a:lnTo>
                      <a:pt x="644" y="2914"/>
                    </a:lnTo>
                    <a:lnTo>
                      <a:pt x="679" y="3024"/>
                    </a:lnTo>
                    <a:lnTo>
                      <a:pt x="720" y="3135"/>
                    </a:lnTo>
                    <a:lnTo>
                      <a:pt x="734" y="3161"/>
                    </a:lnTo>
                    <a:lnTo>
                      <a:pt x="747" y="3189"/>
                    </a:lnTo>
                    <a:lnTo>
                      <a:pt x="757" y="3218"/>
                    </a:lnTo>
                    <a:lnTo>
                      <a:pt x="766" y="3247"/>
                    </a:lnTo>
                    <a:lnTo>
                      <a:pt x="774" y="3276"/>
                    </a:lnTo>
                    <a:lnTo>
                      <a:pt x="782" y="3307"/>
                    </a:lnTo>
                    <a:lnTo>
                      <a:pt x="789" y="3336"/>
                    </a:lnTo>
                    <a:lnTo>
                      <a:pt x="799" y="3367"/>
                    </a:lnTo>
                    <a:lnTo>
                      <a:pt x="843" y="3497"/>
                    </a:lnTo>
                    <a:lnTo>
                      <a:pt x="896" y="3624"/>
                    </a:lnTo>
                    <a:lnTo>
                      <a:pt x="953" y="3749"/>
                    </a:lnTo>
                    <a:lnTo>
                      <a:pt x="1018" y="3873"/>
                    </a:lnTo>
                    <a:lnTo>
                      <a:pt x="1082" y="3995"/>
                    </a:lnTo>
                    <a:lnTo>
                      <a:pt x="1148" y="4117"/>
                    </a:lnTo>
                    <a:lnTo>
                      <a:pt x="1213" y="4239"/>
                    </a:lnTo>
                    <a:lnTo>
                      <a:pt x="1276" y="4364"/>
                    </a:lnTo>
                    <a:lnTo>
                      <a:pt x="1319" y="4422"/>
                    </a:lnTo>
                    <a:lnTo>
                      <a:pt x="1364" y="4481"/>
                    </a:lnTo>
                    <a:lnTo>
                      <a:pt x="1412" y="4539"/>
                    </a:lnTo>
                    <a:lnTo>
                      <a:pt x="1462" y="4596"/>
                    </a:lnTo>
                    <a:lnTo>
                      <a:pt x="1511" y="4652"/>
                    </a:lnTo>
                    <a:lnTo>
                      <a:pt x="1562" y="4708"/>
                    </a:lnTo>
                    <a:lnTo>
                      <a:pt x="1612" y="4764"/>
                    </a:lnTo>
                    <a:lnTo>
                      <a:pt x="1661" y="4820"/>
                    </a:lnTo>
                    <a:lnTo>
                      <a:pt x="1715" y="4868"/>
                    </a:lnTo>
                    <a:lnTo>
                      <a:pt x="1771" y="4915"/>
                    </a:lnTo>
                    <a:lnTo>
                      <a:pt x="1827" y="4959"/>
                    </a:lnTo>
                    <a:lnTo>
                      <a:pt x="1884" y="5005"/>
                    </a:lnTo>
                    <a:lnTo>
                      <a:pt x="1941" y="5047"/>
                    </a:lnTo>
                    <a:lnTo>
                      <a:pt x="1998" y="5090"/>
                    </a:lnTo>
                    <a:lnTo>
                      <a:pt x="2057" y="5131"/>
                    </a:lnTo>
                    <a:lnTo>
                      <a:pt x="2117" y="5172"/>
                    </a:lnTo>
                    <a:lnTo>
                      <a:pt x="2158" y="5195"/>
                    </a:lnTo>
                    <a:lnTo>
                      <a:pt x="2201" y="5221"/>
                    </a:lnTo>
                    <a:lnTo>
                      <a:pt x="2242" y="5248"/>
                    </a:lnTo>
                    <a:lnTo>
                      <a:pt x="2283" y="5278"/>
                    </a:lnTo>
                    <a:lnTo>
                      <a:pt x="2323" y="5304"/>
                    </a:lnTo>
                    <a:lnTo>
                      <a:pt x="2365" y="5331"/>
                    </a:lnTo>
                    <a:lnTo>
                      <a:pt x="2406" y="5355"/>
                    </a:lnTo>
                    <a:lnTo>
                      <a:pt x="2450" y="5377"/>
                    </a:lnTo>
                    <a:lnTo>
                      <a:pt x="2458" y="5385"/>
                    </a:lnTo>
                    <a:lnTo>
                      <a:pt x="2468" y="5395"/>
                    </a:lnTo>
                    <a:lnTo>
                      <a:pt x="2479" y="5403"/>
                    </a:lnTo>
                    <a:lnTo>
                      <a:pt x="2491" y="5412"/>
                    </a:lnTo>
                    <a:lnTo>
                      <a:pt x="2501" y="5419"/>
                    </a:lnTo>
                    <a:lnTo>
                      <a:pt x="2513" y="5427"/>
                    </a:lnTo>
                    <a:lnTo>
                      <a:pt x="2522" y="5434"/>
                    </a:lnTo>
                    <a:lnTo>
                      <a:pt x="2534" y="5442"/>
                    </a:lnTo>
                    <a:lnTo>
                      <a:pt x="2534" y="5446"/>
                    </a:lnTo>
                    <a:lnTo>
                      <a:pt x="2532" y="5451"/>
                    </a:lnTo>
                    <a:lnTo>
                      <a:pt x="2527" y="5453"/>
                    </a:lnTo>
                    <a:lnTo>
                      <a:pt x="2522" y="5456"/>
                    </a:lnTo>
                    <a:lnTo>
                      <a:pt x="2465" y="5421"/>
                    </a:lnTo>
                    <a:lnTo>
                      <a:pt x="2407" y="5390"/>
                    </a:lnTo>
                    <a:lnTo>
                      <a:pt x="2348" y="5360"/>
                    </a:lnTo>
                    <a:lnTo>
                      <a:pt x="2290" y="5334"/>
                    </a:lnTo>
                    <a:lnTo>
                      <a:pt x="2228" y="5310"/>
                    </a:lnTo>
                    <a:lnTo>
                      <a:pt x="2167" y="5291"/>
                    </a:lnTo>
                    <a:lnTo>
                      <a:pt x="2103" y="5276"/>
                    </a:lnTo>
                    <a:lnTo>
                      <a:pt x="2038" y="5267"/>
                    </a:lnTo>
                    <a:lnTo>
                      <a:pt x="1970" y="5246"/>
                    </a:lnTo>
                    <a:lnTo>
                      <a:pt x="1904" y="5227"/>
                    </a:lnTo>
                    <a:lnTo>
                      <a:pt x="1837" y="5206"/>
                    </a:lnTo>
                    <a:lnTo>
                      <a:pt x="1773" y="5185"/>
                    </a:lnTo>
                    <a:lnTo>
                      <a:pt x="1708" y="5160"/>
                    </a:lnTo>
                    <a:lnTo>
                      <a:pt x="1646" y="5134"/>
                    </a:lnTo>
                    <a:lnTo>
                      <a:pt x="1584" y="5104"/>
                    </a:lnTo>
                    <a:lnTo>
                      <a:pt x="1526" y="5071"/>
                    </a:lnTo>
                    <a:lnTo>
                      <a:pt x="1497" y="5058"/>
                    </a:lnTo>
                    <a:lnTo>
                      <a:pt x="1470" y="5044"/>
                    </a:lnTo>
                    <a:lnTo>
                      <a:pt x="1443" y="5028"/>
                    </a:lnTo>
                    <a:lnTo>
                      <a:pt x="1418" y="5011"/>
                    </a:lnTo>
                    <a:lnTo>
                      <a:pt x="1392" y="4993"/>
                    </a:lnTo>
                    <a:lnTo>
                      <a:pt x="1366" y="4977"/>
                    </a:lnTo>
                    <a:lnTo>
                      <a:pt x="1339" y="4960"/>
                    </a:lnTo>
                    <a:lnTo>
                      <a:pt x="1313" y="4948"/>
                    </a:lnTo>
                    <a:lnTo>
                      <a:pt x="1242" y="4895"/>
                    </a:lnTo>
                    <a:lnTo>
                      <a:pt x="1171" y="4845"/>
                    </a:lnTo>
                    <a:lnTo>
                      <a:pt x="1099" y="4795"/>
                    </a:lnTo>
                    <a:lnTo>
                      <a:pt x="1027" y="4748"/>
                    </a:lnTo>
                    <a:lnTo>
                      <a:pt x="956" y="4698"/>
                    </a:lnTo>
                    <a:lnTo>
                      <a:pt x="884" y="4649"/>
                    </a:lnTo>
                    <a:lnTo>
                      <a:pt x="813" y="4597"/>
                    </a:lnTo>
                    <a:lnTo>
                      <a:pt x="745" y="4543"/>
                    </a:lnTo>
                    <a:lnTo>
                      <a:pt x="719" y="4526"/>
                    </a:lnTo>
                    <a:lnTo>
                      <a:pt x="697" y="4505"/>
                    </a:lnTo>
                    <a:lnTo>
                      <a:pt x="676" y="4482"/>
                    </a:lnTo>
                    <a:lnTo>
                      <a:pt x="658" y="4458"/>
                    </a:lnTo>
                    <a:lnTo>
                      <a:pt x="637" y="4434"/>
                    </a:lnTo>
                    <a:lnTo>
                      <a:pt x="617" y="4412"/>
                    </a:lnTo>
                    <a:lnTo>
                      <a:pt x="595" y="4393"/>
                    </a:lnTo>
                    <a:lnTo>
                      <a:pt x="571" y="4378"/>
                    </a:lnTo>
                    <a:lnTo>
                      <a:pt x="570" y="4367"/>
                    </a:lnTo>
                    <a:lnTo>
                      <a:pt x="566" y="4358"/>
                    </a:lnTo>
                    <a:lnTo>
                      <a:pt x="560" y="4350"/>
                    </a:lnTo>
                    <a:lnTo>
                      <a:pt x="553" y="4343"/>
                    </a:lnTo>
                    <a:lnTo>
                      <a:pt x="545" y="4334"/>
                    </a:lnTo>
                    <a:lnTo>
                      <a:pt x="537" y="4327"/>
                    </a:lnTo>
                    <a:lnTo>
                      <a:pt x="530" y="4318"/>
                    </a:lnTo>
                    <a:lnTo>
                      <a:pt x="527" y="4309"/>
                    </a:lnTo>
                    <a:lnTo>
                      <a:pt x="492" y="4249"/>
                    </a:lnTo>
                    <a:lnTo>
                      <a:pt x="453" y="4193"/>
                    </a:lnTo>
                    <a:lnTo>
                      <a:pt x="411" y="4136"/>
                    </a:lnTo>
                    <a:lnTo>
                      <a:pt x="368" y="4081"/>
                    </a:lnTo>
                    <a:lnTo>
                      <a:pt x="327" y="4023"/>
                    </a:lnTo>
                    <a:lnTo>
                      <a:pt x="291" y="3965"/>
                    </a:lnTo>
                    <a:lnTo>
                      <a:pt x="261" y="3904"/>
                    </a:lnTo>
                    <a:lnTo>
                      <a:pt x="240" y="3840"/>
                    </a:lnTo>
                    <a:lnTo>
                      <a:pt x="216" y="3791"/>
                    </a:lnTo>
                    <a:lnTo>
                      <a:pt x="193" y="3742"/>
                    </a:lnTo>
                    <a:lnTo>
                      <a:pt x="173" y="3691"/>
                    </a:lnTo>
                    <a:lnTo>
                      <a:pt x="155" y="3641"/>
                    </a:lnTo>
                    <a:lnTo>
                      <a:pt x="140" y="3587"/>
                    </a:lnTo>
                    <a:lnTo>
                      <a:pt x="130" y="3534"/>
                    </a:lnTo>
                    <a:lnTo>
                      <a:pt x="125" y="3479"/>
                    </a:lnTo>
                    <a:lnTo>
                      <a:pt x="126" y="3422"/>
                    </a:lnTo>
                    <a:lnTo>
                      <a:pt x="125" y="3369"/>
                    </a:lnTo>
                    <a:lnTo>
                      <a:pt x="128" y="3317"/>
                    </a:lnTo>
                    <a:lnTo>
                      <a:pt x="133" y="3264"/>
                    </a:lnTo>
                    <a:lnTo>
                      <a:pt x="138" y="3213"/>
                    </a:lnTo>
                    <a:lnTo>
                      <a:pt x="140" y="3161"/>
                    </a:lnTo>
                    <a:lnTo>
                      <a:pt x="143" y="3109"/>
                    </a:lnTo>
                    <a:lnTo>
                      <a:pt x="142" y="3057"/>
                    </a:lnTo>
                    <a:lnTo>
                      <a:pt x="138" y="3005"/>
                    </a:lnTo>
                    <a:lnTo>
                      <a:pt x="149" y="2989"/>
                    </a:lnTo>
                    <a:lnTo>
                      <a:pt x="147" y="2958"/>
                    </a:lnTo>
                    <a:lnTo>
                      <a:pt x="144" y="2927"/>
                    </a:lnTo>
                    <a:lnTo>
                      <a:pt x="140" y="2897"/>
                    </a:lnTo>
                    <a:lnTo>
                      <a:pt x="137" y="2867"/>
                    </a:lnTo>
                    <a:lnTo>
                      <a:pt x="133" y="2836"/>
                    </a:lnTo>
                    <a:lnTo>
                      <a:pt x="133" y="2806"/>
                    </a:lnTo>
                    <a:lnTo>
                      <a:pt x="135" y="2776"/>
                    </a:lnTo>
                    <a:lnTo>
                      <a:pt x="142" y="2748"/>
                    </a:lnTo>
                    <a:lnTo>
                      <a:pt x="134" y="2686"/>
                    </a:lnTo>
                    <a:lnTo>
                      <a:pt x="131" y="2626"/>
                    </a:lnTo>
                    <a:lnTo>
                      <a:pt x="131" y="2565"/>
                    </a:lnTo>
                    <a:lnTo>
                      <a:pt x="134" y="2506"/>
                    </a:lnTo>
                    <a:lnTo>
                      <a:pt x="134" y="2446"/>
                    </a:lnTo>
                    <a:lnTo>
                      <a:pt x="134" y="2386"/>
                    </a:lnTo>
                    <a:lnTo>
                      <a:pt x="129" y="2327"/>
                    </a:lnTo>
                    <a:lnTo>
                      <a:pt x="122" y="2270"/>
                    </a:lnTo>
                    <a:lnTo>
                      <a:pt x="118" y="2224"/>
                    </a:lnTo>
                    <a:lnTo>
                      <a:pt x="115" y="2179"/>
                    </a:lnTo>
                    <a:lnTo>
                      <a:pt x="111" y="2134"/>
                    </a:lnTo>
                    <a:lnTo>
                      <a:pt x="109" y="2090"/>
                    </a:lnTo>
                    <a:lnTo>
                      <a:pt x="105" y="2045"/>
                    </a:lnTo>
                    <a:lnTo>
                      <a:pt x="106" y="2001"/>
                    </a:lnTo>
                    <a:lnTo>
                      <a:pt x="109" y="1959"/>
                    </a:lnTo>
                    <a:lnTo>
                      <a:pt x="115" y="1916"/>
                    </a:lnTo>
                    <a:lnTo>
                      <a:pt x="112" y="1862"/>
                    </a:lnTo>
                    <a:lnTo>
                      <a:pt x="110" y="1808"/>
                    </a:lnTo>
                    <a:lnTo>
                      <a:pt x="108" y="1752"/>
                    </a:lnTo>
                    <a:lnTo>
                      <a:pt x="106" y="1697"/>
                    </a:lnTo>
                    <a:lnTo>
                      <a:pt x="104" y="1640"/>
                    </a:lnTo>
                    <a:lnTo>
                      <a:pt x="103" y="1585"/>
                    </a:lnTo>
                    <a:lnTo>
                      <a:pt x="101" y="1529"/>
                    </a:lnTo>
                    <a:lnTo>
                      <a:pt x="99" y="1477"/>
                    </a:lnTo>
                    <a:lnTo>
                      <a:pt x="77" y="1389"/>
                    </a:lnTo>
                    <a:lnTo>
                      <a:pt x="68" y="1301"/>
                    </a:lnTo>
                    <a:lnTo>
                      <a:pt x="66" y="1212"/>
                    </a:lnTo>
                    <a:lnTo>
                      <a:pt x="68" y="1123"/>
                    </a:lnTo>
                    <a:lnTo>
                      <a:pt x="69" y="1034"/>
                    </a:lnTo>
                    <a:lnTo>
                      <a:pt x="68" y="946"/>
                    </a:lnTo>
                    <a:lnTo>
                      <a:pt x="59" y="858"/>
                    </a:lnTo>
                    <a:lnTo>
                      <a:pt x="39" y="774"/>
                    </a:lnTo>
                    <a:lnTo>
                      <a:pt x="33" y="729"/>
                    </a:lnTo>
                    <a:lnTo>
                      <a:pt x="27" y="687"/>
                    </a:lnTo>
                    <a:lnTo>
                      <a:pt x="22" y="646"/>
                    </a:lnTo>
                    <a:lnTo>
                      <a:pt x="17" y="604"/>
                    </a:lnTo>
                    <a:lnTo>
                      <a:pt x="11" y="563"/>
                    </a:lnTo>
                    <a:lnTo>
                      <a:pt x="6" y="522"/>
                    </a:lnTo>
                    <a:lnTo>
                      <a:pt x="3" y="479"/>
                    </a:lnTo>
                    <a:lnTo>
                      <a:pt x="0" y="437"/>
                    </a:lnTo>
                    <a:lnTo>
                      <a:pt x="5" y="398"/>
                    </a:lnTo>
                    <a:lnTo>
                      <a:pt x="14" y="362"/>
                    </a:lnTo>
                    <a:lnTo>
                      <a:pt x="24" y="326"/>
                    </a:lnTo>
                    <a:lnTo>
                      <a:pt x="34" y="290"/>
                    </a:lnTo>
                    <a:lnTo>
                      <a:pt x="43" y="253"/>
                    </a:lnTo>
                    <a:lnTo>
                      <a:pt x="53" y="216"/>
                    </a:lnTo>
                    <a:lnTo>
                      <a:pt x="62" y="179"/>
                    </a:lnTo>
                    <a:lnTo>
                      <a:pt x="71" y="143"/>
                    </a:lnTo>
                    <a:lnTo>
                      <a:pt x="55" y="4"/>
                    </a:lnTo>
                    <a:lnTo>
                      <a:pt x="63" y="0"/>
                    </a:lnTo>
                    <a:lnTo>
                      <a:pt x="69" y="1"/>
                    </a:lnTo>
                    <a:lnTo>
                      <a:pt x="74" y="4"/>
                    </a:lnTo>
                    <a:lnTo>
                      <a:pt x="78" y="12"/>
                    </a:lnTo>
                    <a:lnTo>
                      <a:pt x="80" y="19"/>
                    </a:lnTo>
                    <a:lnTo>
                      <a:pt x="83" y="29"/>
                    </a:lnTo>
                    <a:lnTo>
                      <a:pt x="84" y="37"/>
                    </a:lnTo>
                    <a:lnTo>
                      <a:pt x="87" y="45"/>
                    </a:lnTo>
                    <a:close/>
                  </a:path>
                </a:pathLst>
              </a:custGeom>
              <a:solidFill>
                <a:srgbClr val="000000"/>
              </a:solidFill>
              <a:ln w="9525">
                <a:noFill/>
                <a:round/>
                <a:headEnd/>
                <a:tailEnd/>
              </a:ln>
            </p:spPr>
            <p:txBody>
              <a:bodyPr/>
              <a:lstStyle/>
              <a:p>
                <a:pPr>
                  <a:defRPr/>
                </a:pPr>
                <a:endParaRPr lang="en-US" dirty="0">
                  <a:cs typeface="+mn-cs"/>
                </a:endParaRPr>
              </a:p>
            </p:txBody>
          </p:sp>
          <p:sp>
            <p:nvSpPr>
              <p:cNvPr id="52" name="Freeform 1098"/>
              <p:cNvSpPr>
                <a:spLocks/>
              </p:cNvSpPr>
              <p:nvPr/>
            </p:nvSpPr>
            <p:spPr bwMode="auto">
              <a:xfrm>
                <a:off x="4109" y="2524"/>
                <a:ext cx="510" cy="1135"/>
              </a:xfrm>
              <a:custGeom>
                <a:avLst/>
                <a:gdLst>
                  <a:gd name="T0" fmla="*/ 0 w 2039"/>
                  <a:gd name="T1" fmla="*/ 0 h 4540"/>
                  <a:gd name="T2" fmla="*/ 0 w 2039"/>
                  <a:gd name="T3" fmla="*/ 0 h 4540"/>
                  <a:gd name="T4" fmla="*/ 0 w 2039"/>
                  <a:gd name="T5" fmla="*/ 0 h 4540"/>
                  <a:gd name="T6" fmla="*/ 0 w 2039"/>
                  <a:gd name="T7" fmla="*/ 0 h 4540"/>
                  <a:gd name="T8" fmla="*/ 0 w 2039"/>
                  <a:gd name="T9" fmla="*/ 0 h 4540"/>
                  <a:gd name="T10" fmla="*/ 0 w 2039"/>
                  <a:gd name="T11" fmla="*/ 0 h 4540"/>
                  <a:gd name="T12" fmla="*/ 0 w 2039"/>
                  <a:gd name="T13" fmla="*/ 0 h 4540"/>
                  <a:gd name="T14" fmla="*/ 0 w 2039"/>
                  <a:gd name="T15" fmla="*/ 0 h 4540"/>
                  <a:gd name="T16" fmla="*/ 0 w 2039"/>
                  <a:gd name="T17" fmla="*/ 0 h 4540"/>
                  <a:gd name="T18" fmla="*/ 0 w 2039"/>
                  <a:gd name="T19" fmla="*/ 0 h 4540"/>
                  <a:gd name="T20" fmla="*/ 0 w 2039"/>
                  <a:gd name="T21" fmla="*/ 0 h 4540"/>
                  <a:gd name="T22" fmla="*/ 0 w 2039"/>
                  <a:gd name="T23" fmla="*/ 0 h 4540"/>
                  <a:gd name="T24" fmla="*/ 0 w 2039"/>
                  <a:gd name="T25" fmla="*/ 0 h 4540"/>
                  <a:gd name="T26" fmla="*/ 0 w 2039"/>
                  <a:gd name="T27" fmla="*/ 0 h 4540"/>
                  <a:gd name="T28" fmla="*/ 0 w 2039"/>
                  <a:gd name="T29" fmla="*/ 0 h 4540"/>
                  <a:gd name="T30" fmla="*/ 0 w 2039"/>
                  <a:gd name="T31" fmla="*/ 0 h 4540"/>
                  <a:gd name="T32" fmla="*/ 0 w 2039"/>
                  <a:gd name="T33" fmla="*/ 0 h 4540"/>
                  <a:gd name="T34" fmla="*/ 0 w 2039"/>
                  <a:gd name="T35" fmla="*/ 0 h 4540"/>
                  <a:gd name="T36" fmla="*/ 0 w 2039"/>
                  <a:gd name="T37" fmla="*/ 0 h 4540"/>
                  <a:gd name="T38" fmla="*/ 0 w 2039"/>
                  <a:gd name="T39" fmla="*/ 0 h 4540"/>
                  <a:gd name="T40" fmla="*/ 0 w 2039"/>
                  <a:gd name="T41" fmla="*/ 0 h 4540"/>
                  <a:gd name="T42" fmla="*/ 0 w 2039"/>
                  <a:gd name="T43" fmla="*/ 0 h 4540"/>
                  <a:gd name="T44" fmla="*/ 0 w 2039"/>
                  <a:gd name="T45" fmla="*/ 0 h 4540"/>
                  <a:gd name="T46" fmla="*/ 0 w 2039"/>
                  <a:gd name="T47" fmla="*/ 0 h 4540"/>
                  <a:gd name="T48" fmla="*/ 0 w 2039"/>
                  <a:gd name="T49" fmla="*/ 0 h 4540"/>
                  <a:gd name="T50" fmla="*/ 0 w 2039"/>
                  <a:gd name="T51" fmla="*/ 0 h 4540"/>
                  <a:gd name="T52" fmla="*/ 0 w 2039"/>
                  <a:gd name="T53" fmla="*/ 0 h 4540"/>
                  <a:gd name="T54" fmla="*/ 0 w 2039"/>
                  <a:gd name="T55" fmla="*/ 0 h 4540"/>
                  <a:gd name="T56" fmla="*/ 0 w 2039"/>
                  <a:gd name="T57" fmla="*/ 0 h 4540"/>
                  <a:gd name="T58" fmla="*/ 0 w 2039"/>
                  <a:gd name="T59" fmla="*/ 0 h 4540"/>
                  <a:gd name="T60" fmla="*/ 0 w 2039"/>
                  <a:gd name="T61" fmla="*/ 0 h 4540"/>
                  <a:gd name="T62" fmla="*/ 0 w 2039"/>
                  <a:gd name="T63" fmla="*/ 0 h 4540"/>
                  <a:gd name="T64" fmla="*/ 0 w 2039"/>
                  <a:gd name="T65" fmla="*/ 0 h 4540"/>
                  <a:gd name="T66" fmla="*/ 0 w 2039"/>
                  <a:gd name="T67" fmla="*/ 0 h 4540"/>
                  <a:gd name="T68" fmla="*/ 0 w 2039"/>
                  <a:gd name="T69" fmla="*/ 0 h 4540"/>
                  <a:gd name="T70" fmla="*/ 0 w 2039"/>
                  <a:gd name="T71" fmla="*/ 0 h 4540"/>
                  <a:gd name="T72" fmla="*/ 0 w 2039"/>
                  <a:gd name="T73" fmla="*/ 0 h 4540"/>
                  <a:gd name="T74" fmla="*/ 0 w 2039"/>
                  <a:gd name="T75" fmla="*/ 0 h 4540"/>
                  <a:gd name="T76" fmla="*/ 0 w 2039"/>
                  <a:gd name="T77" fmla="*/ 0 h 4540"/>
                  <a:gd name="T78" fmla="*/ 0 w 2039"/>
                  <a:gd name="T79" fmla="*/ 0 h 4540"/>
                  <a:gd name="T80" fmla="*/ 0 w 2039"/>
                  <a:gd name="T81" fmla="*/ 0 h 4540"/>
                  <a:gd name="T82" fmla="*/ 0 w 2039"/>
                  <a:gd name="T83" fmla="*/ 0 h 4540"/>
                  <a:gd name="T84" fmla="*/ 0 w 2039"/>
                  <a:gd name="T85" fmla="*/ 0 h 4540"/>
                  <a:gd name="T86" fmla="*/ 0 w 2039"/>
                  <a:gd name="T87" fmla="*/ 0 h 4540"/>
                  <a:gd name="T88" fmla="*/ 0 w 2039"/>
                  <a:gd name="T89" fmla="*/ 0 h 4540"/>
                  <a:gd name="T90" fmla="*/ 0 w 2039"/>
                  <a:gd name="T91" fmla="*/ 0 h 4540"/>
                  <a:gd name="T92" fmla="*/ 0 w 2039"/>
                  <a:gd name="T93" fmla="*/ 0 h 4540"/>
                  <a:gd name="T94" fmla="*/ 0 w 2039"/>
                  <a:gd name="T95" fmla="*/ 0 h 4540"/>
                  <a:gd name="T96" fmla="*/ 0 w 2039"/>
                  <a:gd name="T97" fmla="*/ 0 h 4540"/>
                  <a:gd name="T98" fmla="*/ 0 w 2039"/>
                  <a:gd name="T99" fmla="*/ 0 h 4540"/>
                  <a:gd name="T100" fmla="*/ 0 w 2039"/>
                  <a:gd name="T101" fmla="*/ 0 h 4540"/>
                  <a:gd name="T102" fmla="*/ 0 w 2039"/>
                  <a:gd name="T103" fmla="*/ 0 h 45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9"/>
                  <a:gd name="T157" fmla="*/ 0 h 4540"/>
                  <a:gd name="T158" fmla="*/ 2039 w 2039"/>
                  <a:gd name="T159" fmla="*/ 4540 h 45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9" h="4540">
                    <a:moveTo>
                      <a:pt x="217" y="664"/>
                    </a:moveTo>
                    <a:lnTo>
                      <a:pt x="213" y="716"/>
                    </a:lnTo>
                    <a:lnTo>
                      <a:pt x="216" y="768"/>
                    </a:lnTo>
                    <a:lnTo>
                      <a:pt x="224" y="817"/>
                    </a:lnTo>
                    <a:lnTo>
                      <a:pt x="235" y="867"/>
                    </a:lnTo>
                    <a:lnTo>
                      <a:pt x="246" y="915"/>
                    </a:lnTo>
                    <a:lnTo>
                      <a:pt x="258" y="965"/>
                    </a:lnTo>
                    <a:lnTo>
                      <a:pt x="266" y="1014"/>
                    </a:lnTo>
                    <a:lnTo>
                      <a:pt x="268" y="1067"/>
                    </a:lnTo>
                    <a:lnTo>
                      <a:pt x="277" y="1115"/>
                    </a:lnTo>
                    <a:lnTo>
                      <a:pt x="289" y="1164"/>
                    </a:lnTo>
                    <a:lnTo>
                      <a:pt x="302" y="1213"/>
                    </a:lnTo>
                    <a:lnTo>
                      <a:pt x="315" y="1262"/>
                    </a:lnTo>
                    <a:lnTo>
                      <a:pt x="326" y="1310"/>
                    </a:lnTo>
                    <a:lnTo>
                      <a:pt x="334" y="1360"/>
                    </a:lnTo>
                    <a:lnTo>
                      <a:pt x="338" y="1411"/>
                    </a:lnTo>
                    <a:lnTo>
                      <a:pt x="337" y="1464"/>
                    </a:lnTo>
                    <a:lnTo>
                      <a:pt x="339" y="1519"/>
                    </a:lnTo>
                    <a:lnTo>
                      <a:pt x="347" y="1575"/>
                    </a:lnTo>
                    <a:lnTo>
                      <a:pt x="359" y="1628"/>
                    </a:lnTo>
                    <a:lnTo>
                      <a:pt x="375" y="1682"/>
                    </a:lnTo>
                    <a:lnTo>
                      <a:pt x="389" y="1735"/>
                    </a:lnTo>
                    <a:lnTo>
                      <a:pt x="403" y="1789"/>
                    </a:lnTo>
                    <a:lnTo>
                      <a:pt x="415" y="1843"/>
                    </a:lnTo>
                    <a:lnTo>
                      <a:pt x="424" y="1901"/>
                    </a:lnTo>
                    <a:lnTo>
                      <a:pt x="446" y="1979"/>
                    </a:lnTo>
                    <a:lnTo>
                      <a:pt x="469" y="2059"/>
                    </a:lnTo>
                    <a:lnTo>
                      <a:pt x="492" y="2137"/>
                    </a:lnTo>
                    <a:lnTo>
                      <a:pt x="515" y="2217"/>
                    </a:lnTo>
                    <a:lnTo>
                      <a:pt x="538" y="2297"/>
                    </a:lnTo>
                    <a:lnTo>
                      <a:pt x="563" y="2376"/>
                    </a:lnTo>
                    <a:lnTo>
                      <a:pt x="589" y="2454"/>
                    </a:lnTo>
                    <a:lnTo>
                      <a:pt x="618" y="2534"/>
                    </a:lnTo>
                    <a:lnTo>
                      <a:pt x="631" y="2581"/>
                    </a:lnTo>
                    <a:lnTo>
                      <a:pt x="648" y="2630"/>
                    </a:lnTo>
                    <a:lnTo>
                      <a:pt x="664" y="2678"/>
                    </a:lnTo>
                    <a:lnTo>
                      <a:pt x="682" y="2726"/>
                    </a:lnTo>
                    <a:lnTo>
                      <a:pt x="701" y="2773"/>
                    </a:lnTo>
                    <a:lnTo>
                      <a:pt x="720" y="2820"/>
                    </a:lnTo>
                    <a:lnTo>
                      <a:pt x="740" y="2866"/>
                    </a:lnTo>
                    <a:lnTo>
                      <a:pt x="761" y="2914"/>
                    </a:lnTo>
                    <a:lnTo>
                      <a:pt x="808" y="3000"/>
                    </a:lnTo>
                    <a:lnTo>
                      <a:pt x="854" y="3089"/>
                    </a:lnTo>
                    <a:lnTo>
                      <a:pt x="897" y="3178"/>
                    </a:lnTo>
                    <a:lnTo>
                      <a:pt x="938" y="3270"/>
                    </a:lnTo>
                    <a:lnTo>
                      <a:pt x="978" y="3359"/>
                    </a:lnTo>
                    <a:lnTo>
                      <a:pt x="1022" y="3449"/>
                    </a:lnTo>
                    <a:lnTo>
                      <a:pt x="1067" y="3536"/>
                    </a:lnTo>
                    <a:lnTo>
                      <a:pt x="1117" y="3624"/>
                    </a:lnTo>
                    <a:lnTo>
                      <a:pt x="1125" y="3633"/>
                    </a:lnTo>
                    <a:lnTo>
                      <a:pt x="1130" y="3645"/>
                    </a:lnTo>
                    <a:lnTo>
                      <a:pt x="1134" y="3656"/>
                    </a:lnTo>
                    <a:lnTo>
                      <a:pt x="1138" y="3669"/>
                    </a:lnTo>
                    <a:lnTo>
                      <a:pt x="1141" y="3678"/>
                    </a:lnTo>
                    <a:lnTo>
                      <a:pt x="1147" y="3689"/>
                    </a:lnTo>
                    <a:lnTo>
                      <a:pt x="1154" y="3698"/>
                    </a:lnTo>
                    <a:lnTo>
                      <a:pt x="1166" y="3707"/>
                    </a:lnTo>
                    <a:lnTo>
                      <a:pt x="1201" y="3761"/>
                    </a:lnTo>
                    <a:lnTo>
                      <a:pt x="1240" y="3815"/>
                    </a:lnTo>
                    <a:lnTo>
                      <a:pt x="1280" y="3869"/>
                    </a:lnTo>
                    <a:lnTo>
                      <a:pt x="1323" y="3923"/>
                    </a:lnTo>
                    <a:lnTo>
                      <a:pt x="1365" y="3975"/>
                    </a:lnTo>
                    <a:lnTo>
                      <a:pt x="1409" y="4027"/>
                    </a:lnTo>
                    <a:lnTo>
                      <a:pt x="1452" y="4080"/>
                    </a:lnTo>
                    <a:lnTo>
                      <a:pt x="1496" y="4133"/>
                    </a:lnTo>
                    <a:lnTo>
                      <a:pt x="1524" y="4150"/>
                    </a:lnTo>
                    <a:lnTo>
                      <a:pt x="1552" y="4170"/>
                    </a:lnTo>
                    <a:lnTo>
                      <a:pt x="1579" y="4189"/>
                    </a:lnTo>
                    <a:lnTo>
                      <a:pt x="1608" y="4212"/>
                    </a:lnTo>
                    <a:lnTo>
                      <a:pt x="1633" y="4235"/>
                    </a:lnTo>
                    <a:lnTo>
                      <a:pt x="1659" y="4259"/>
                    </a:lnTo>
                    <a:lnTo>
                      <a:pt x="1683" y="4285"/>
                    </a:lnTo>
                    <a:lnTo>
                      <a:pt x="1707" y="4313"/>
                    </a:lnTo>
                    <a:lnTo>
                      <a:pt x="1746" y="4333"/>
                    </a:lnTo>
                    <a:lnTo>
                      <a:pt x="1784" y="4357"/>
                    </a:lnTo>
                    <a:lnTo>
                      <a:pt x="1821" y="4383"/>
                    </a:lnTo>
                    <a:lnTo>
                      <a:pt x="1858" y="4411"/>
                    </a:lnTo>
                    <a:lnTo>
                      <a:pt x="1893" y="4438"/>
                    </a:lnTo>
                    <a:lnTo>
                      <a:pt x="1930" y="4467"/>
                    </a:lnTo>
                    <a:lnTo>
                      <a:pt x="1965" y="4494"/>
                    </a:lnTo>
                    <a:lnTo>
                      <a:pt x="2005" y="4520"/>
                    </a:lnTo>
                    <a:lnTo>
                      <a:pt x="2014" y="4519"/>
                    </a:lnTo>
                    <a:lnTo>
                      <a:pt x="2022" y="4525"/>
                    </a:lnTo>
                    <a:lnTo>
                      <a:pt x="2030" y="4534"/>
                    </a:lnTo>
                    <a:lnTo>
                      <a:pt x="2039" y="4540"/>
                    </a:lnTo>
                    <a:lnTo>
                      <a:pt x="1977" y="4530"/>
                    </a:lnTo>
                    <a:lnTo>
                      <a:pt x="1918" y="4517"/>
                    </a:lnTo>
                    <a:lnTo>
                      <a:pt x="1858" y="4500"/>
                    </a:lnTo>
                    <a:lnTo>
                      <a:pt x="1799" y="4484"/>
                    </a:lnTo>
                    <a:lnTo>
                      <a:pt x="1740" y="4464"/>
                    </a:lnTo>
                    <a:lnTo>
                      <a:pt x="1684" y="4446"/>
                    </a:lnTo>
                    <a:lnTo>
                      <a:pt x="1626" y="4425"/>
                    </a:lnTo>
                    <a:lnTo>
                      <a:pt x="1570" y="4406"/>
                    </a:lnTo>
                    <a:lnTo>
                      <a:pt x="1477" y="4351"/>
                    </a:lnTo>
                    <a:lnTo>
                      <a:pt x="1389" y="4295"/>
                    </a:lnTo>
                    <a:lnTo>
                      <a:pt x="1301" y="4234"/>
                    </a:lnTo>
                    <a:lnTo>
                      <a:pt x="1214" y="4174"/>
                    </a:lnTo>
                    <a:lnTo>
                      <a:pt x="1127" y="4112"/>
                    </a:lnTo>
                    <a:lnTo>
                      <a:pt x="1040" y="4053"/>
                    </a:lnTo>
                    <a:lnTo>
                      <a:pt x="952" y="3996"/>
                    </a:lnTo>
                    <a:lnTo>
                      <a:pt x="864" y="3943"/>
                    </a:lnTo>
                    <a:lnTo>
                      <a:pt x="777" y="3878"/>
                    </a:lnTo>
                    <a:lnTo>
                      <a:pt x="696" y="3811"/>
                    </a:lnTo>
                    <a:lnTo>
                      <a:pt x="620" y="3739"/>
                    </a:lnTo>
                    <a:lnTo>
                      <a:pt x="550" y="3665"/>
                    </a:lnTo>
                    <a:lnTo>
                      <a:pt x="481" y="3587"/>
                    </a:lnTo>
                    <a:lnTo>
                      <a:pt x="418" y="3507"/>
                    </a:lnTo>
                    <a:lnTo>
                      <a:pt x="357" y="3423"/>
                    </a:lnTo>
                    <a:lnTo>
                      <a:pt x="300" y="3338"/>
                    </a:lnTo>
                    <a:lnTo>
                      <a:pt x="269" y="3281"/>
                    </a:lnTo>
                    <a:lnTo>
                      <a:pt x="241" y="3224"/>
                    </a:lnTo>
                    <a:lnTo>
                      <a:pt x="215" y="3165"/>
                    </a:lnTo>
                    <a:lnTo>
                      <a:pt x="191" y="3108"/>
                    </a:lnTo>
                    <a:lnTo>
                      <a:pt x="167" y="3048"/>
                    </a:lnTo>
                    <a:lnTo>
                      <a:pt x="144" y="2989"/>
                    </a:lnTo>
                    <a:lnTo>
                      <a:pt x="121" y="2929"/>
                    </a:lnTo>
                    <a:lnTo>
                      <a:pt x="101" y="2871"/>
                    </a:lnTo>
                    <a:lnTo>
                      <a:pt x="93" y="2772"/>
                    </a:lnTo>
                    <a:lnTo>
                      <a:pt x="92" y="2674"/>
                    </a:lnTo>
                    <a:lnTo>
                      <a:pt x="92" y="2575"/>
                    </a:lnTo>
                    <a:lnTo>
                      <a:pt x="95" y="2477"/>
                    </a:lnTo>
                    <a:lnTo>
                      <a:pt x="96" y="2378"/>
                    </a:lnTo>
                    <a:lnTo>
                      <a:pt x="97" y="2283"/>
                    </a:lnTo>
                    <a:lnTo>
                      <a:pt x="94" y="2187"/>
                    </a:lnTo>
                    <a:lnTo>
                      <a:pt x="89" y="2096"/>
                    </a:lnTo>
                    <a:lnTo>
                      <a:pt x="87" y="2015"/>
                    </a:lnTo>
                    <a:lnTo>
                      <a:pt x="89" y="1935"/>
                    </a:lnTo>
                    <a:lnTo>
                      <a:pt x="92" y="1854"/>
                    </a:lnTo>
                    <a:lnTo>
                      <a:pt x="95" y="1775"/>
                    </a:lnTo>
                    <a:lnTo>
                      <a:pt x="97" y="1693"/>
                    </a:lnTo>
                    <a:lnTo>
                      <a:pt x="96" y="1614"/>
                    </a:lnTo>
                    <a:lnTo>
                      <a:pt x="92" y="1534"/>
                    </a:lnTo>
                    <a:lnTo>
                      <a:pt x="82" y="1454"/>
                    </a:lnTo>
                    <a:lnTo>
                      <a:pt x="75" y="1310"/>
                    </a:lnTo>
                    <a:lnTo>
                      <a:pt x="68" y="1166"/>
                    </a:lnTo>
                    <a:lnTo>
                      <a:pt x="61" y="1021"/>
                    </a:lnTo>
                    <a:lnTo>
                      <a:pt x="55" y="877"/>
                    </a:lnTo>
                    <a:lnTo>
                      <a:pt x="47" y="731"/>
                    </a:lnTo>
                    <a:lnTo>
                      <a:pt x="40" y="587"/>
                    </a:lnTo>
                    <a:lnTo>
                      <a:pt x="32" y="442"/>
                    </a:lnTo>
                    <a:lnTo>
                      <a:pt x="25" y="297"/>
                    </a:lnTo>
                    <a:lnTo>
                      <a:pt x="21" y="260"/>
                    </a:lnTo>
                    <a:lnTo>
                      <a:pt x="18" y="224"/>
                    </a:lnTo>
                    <a:lnTo>
                      <a:pt x="14" y="187"/>
                    </a:lnTo>
                    <a:lnTo>
                      <a:pt x="10" y="150"/>
                    </a:lnTo>
                    <a:lnTo>
                      <a:pt x="5" y="112"/>
                    </a:lnTo>
                    <a:lnTo>
                      <a:pt x="2" y="75"/>
                    </a:lnTo>
                    <a:lnTo>
                      <a:pt x="0" y="37"/>
                    </a:lnTo>
                    <a:lnTo>
                      <a:pt x="0" y="0"/>
                    </a:lnTo>
                    <a:lnTo>
                      <a:pt x="48" y="72"/>
                    </a:lnTo>
                    <a:lnTo>
                      <a:pt x="92" y="149"/>
                    </a:lnTo>
                    <a:lnTo>
                      <a:pt x="128" y="228"/>
                    </a:lnTo>
                    <a:lnTo>
                      <a:pt x="157" y="310"/>
                    </a:lnTo>
                    <a:lnTo>
                      <a:pt x="179" y="394"/>
                    </a:lnTo>
                    <a:lnTo>
                      <a:pt x="196" y="482"/>
                    </a:lnTo>
                    <a:lnTo>
                      <a:pt x="208" y="571"/>
                    </a:lnTo>
                    <a:lnTo>
                      <a:pt x="217" y="664"/>
                    </a:lnTo>
                    <a:close/>
                  </a:path>
                </a:pathLst>
              </a:custGeom>
              <a:solidFill>
                <a:srgbClr val="B31A00"/>
              </a:solidFill>
              <a:ln w="9525">
                <a:noFill/>
                <a:round/>
                <a:headEnd/>
                <a:tailEnd/>
              </a:ln>
            </p:spPr>
            <p:txBody>
              <a:bodyPr/>
              <a:lstStyle/>
              <a:p>
                <a:pPr>
                  <a:defRPr/>
                </a:pPr>
                <a:endParaRPr lang="en-US" dirty="0">
                  <a:cs typeface="+mn-cs"/>
                </a:endParaRPr>
              </a:p>
            </p:txBody>
          </p:sp>
          <p:sp>
            <p:nvSpPr>
              <p:cNvPr id="53" name="Freeform 1099"/>
              <p:cNvSpPr>
                <a:spLocks/>
              </p:cNvSpPr>
              <p:nvPr/>
            </p:nvSpPr>
            <p:spPr bwMode="auto">
              <a:xfrm>
                <a:off x="4129" y="2280"/>
                <a:ext cx="650" cy="1261"/>
              </a:xfrm>
              <a:custGeom>
                <a:avLst/>
                <a:gdLst>
                  <a:gd name="T0" fmla="*/ 0 w 2600"/>
                  <a:gd name="T1" fmla="*/ 0 h 5045"/>
                  <a:gd name="T2" fmla="*/ 0 w 2600"/>
                  <a:gd name="T3" fmla="*/ 0 h 5045"/>
                  <a:gd name="T4" fmla="*/ 0 w 2600"/>
                  <a:gd name="T5" fmla="*/ 0 h 5045"/>
                  <a:gd name="T6" fmla="*/ 0 w 2600"/>
                  <a:gd name="T7" fmla="*/ 0 h 5045"/>
                  <a:gd name="T8" fmla="*/ 0 w 2600"/>
                  <a:gd name="T9" fmla="*/ 0 h 5045"/>
                  <a:gd name="T10" fmla="*/ 0 w 2600"/>
                  <a:gd name="T11" fmla="*/ 0 h 5045"/>
                  <a:gd name="T12" fmla="*/ 0 w 2600"/>
                  <a:gd name="T13" fmla="*/ 0 h 5045"/>
                  <a:gd name="T14" fmla="*/ 0 w 2600"/>
                  <a:gd name="T15" fmla="*/ 0 h 5045"/>
                  <a:gd name="T16" fmla="*/ 0 w 2600"/>
                  <a:gd name="T17" fmla="*/ 0 h 5045"/>
                  <a:gd name="T18" fmla="*/ 0 w 2600"/>
                  <a:gd name="T19" fmla="*/ 0 h 5045"/>
                  <a:gd name="T20" fmla="*/ 0 w 2600"/>
                  <a:gd name="T21" fmla="*/ 0 h 5045"/>
                  <a:gd name="T22" fmla="*/ 0 w 2600"/>
                  <a:gd name="T23" fmla="*/ 0 h 5045"/>
                  <a:gd name="T24" fmla="*/ 0 w 2600"/>
                  <a:gd name="T25" fmla="*/ 0 h 5045"/>
                  <a:gd name="T26" fmla="*/ 0 w 2600"/>
                  <a:gd name="T27" fmla="*/ 0 h 5045"/>
                  <a:gd name="T28" fmla="*/ 0 w 2600"/>
                  <a:gd name="T29" fmla="*/ 0 h 5045"/>
                  <a:gd name="T30" fmla="*/ 0 w 2600"/>
                  <a:gd name="T31" fmla="*/ 0 h 5045"/>
                  <a:gd name="T32" fmla="*/ 0 w 2600"/>
                  <a:gd name="T33" fmla="*/ 0 h 5045"/>
                  <a:gd name="T34" fmla="*/ 0 w 2600"/>
                  <a:gd name="T35" fmla="*/ 0 h 5045"/>
                  <a:gd name="T36" fmla="*/ 0 w 2600"/>
                  <a:gd name="T37" fmla="*/ 0 h 5045"/>
                  <a:gd name="T38" fmla="*/ 0 w 2600"/>
                  <a:gd name="T39" fmla="*/ 0 h 5045"/>
                  <a:gd name="T40" fmla="*/ 0 w 2600"/>
                  <a:gd name="T41" fmla="*/ 0 h 5045"/>
                  <a:gd name="T42" fmla="*/ 0 w 2600"/>
                  <a:gd name="T43" fmla="*/ 0 h 5045"/>
                  <a:gd name="T44" fmla="*/ 0 w 2600"/>
                  <a:gd name="T45" fmla="*/ 0 h 5045"/>
                  <a:gd name="T46" fmla="*/ 0 w 2600"/>
                  <a:gd name="T47" fmla="*/ 0 h 5045"/>
                  <a:gd name="T48" fmla="*/ 0 w 2600"/>
                  <a:gd name="T49" fmla="*/ 0 h 5045"/>
                  <a:gd name="T50" fmla="*/ 0 w 2600"/>
                  <a:gd name="T51" fmla="*/ 0 h 5045"/>
                  <a:gd name="T52" fmla="*/ 0 w 2600"/>
                  <a:gd name="T53" fmla="*/ 0 h 5045"/>
                  <a:gd name="T54" fmla="*/ 0 w 2600"/>
                  <a:gd name="T55" fmla="*/ 0 h 5045"/>
                  <a:gd name="T56" fmla="*/ 0 w 2600"/>
                  <a:gd name="T57" fmla="*/ 0 h 5045"/>
                  <a:gd name="T58" fmla="*/ 0 w 2600"/>
                  <a:gd name="T59" fmla="*/ 0 h 5045"/>
                  <a:gd name="T60" fmla="*/ 0 w 2600"/>
                  <a:gd name="T61" fmla="*/ 0 h 5045"/>
                  <a:gd name="T62" fmla="*/ 0 w 2600"/>
                  <a:gd name="T63" fmla="*/ 0 h 5045"/>
                  <a:gd name="T64" fmla="*/ 0 w 2600"/>
                  <a:gd name="T65" fmla="*/ 0 h 5045"/>
                  <a:gd name="T66" fmla="*/ 0 w 2600"/>
                  <a:gd name="T67" fmla="*/ 0 h 5045"/>
                  <a:gd name="T68" fmla="*/ 0 w 2600"/>
                  <a:gd name="T69" fmla="*/ 0 h 5045"/>
                  <a:gd name="T70" fmla="*/ 0 w 2600"/>
                  <a:gd name="T71" fmla="*/ 0 h 5045"/>
                  <a:gd name="T72" fmla="*/ 0 w 2600"/>
                  <a:gd name="T73" fmla="*/ 0 h 5045"/>
                  <a:gd name="T74" fmla="*/ 0 w 2600"/>
                  <a:gd name="T75" fmla="*/ 0 h 5045"/>
                  <a:gd name="T76" fmla="*/ 0 w 2600"/>
                  <a:gd name="T77" fmla="*/ 0 h 5045"/>
                  <a:gd name="T78" fmla="*/ 0 w 2600"/>
                  <a:gd name="T79" fmla="*/ 0 h 5045"/>
                  <a:gd name="T80" fmla="*/ 0 w 2600"/>
                  <a:gd name="T81" fmla="*/ 0 h 5045"/>
                  <a:gd name="T82" fmla="*/ 0 w 2600"/>
                  <a:gd name="T83" fmla="*/ 0 h 5045"/>
                  <a:gd name="T84" fmla="*/ 0 w 2600"/>
                  <a:gd name="T85" fmla="*/ 0 h 5045"/>
                  <a:gd name="T86" fmla="*/ 0 w 2600"/>
                  <a:gd name="T87" fmla="*/ 0 h 5045"/>
                  <a:gd name="T88" fmla="*/ 0 w 2600"/>
                  <a:gd name="T89" fmla="*/ 0 h 5045"/>
                  <a:gd name="T90" fmla="*/ 0 w 2600"/>
                  <a:gd name="T91" fmla="*/ 0 h 5045"/>
                  <a:gd name="T92" fmla="*/ 0 w 2600"/>
                  <a:gd name="T93" fmla="*/ 0 h 5045"/>
                  <a:gd name="T94" fmla="*/ 0 w 2600"/>
                  <a:gd name="T95" fmla="*/ 0 h 5045"/>
                  <a:gd name="T96" fmla="*/ 0 w 2600"/>
                  <a:gd name="T97" fmla="*/ 0 h 5045"/>
                  <a:gd name="T98" fmla="*/ 0 w 2600"/>
                  <a:gd name="T99" fmla="*/ 0 h 5045"/>
                  <a:gd name="T100" fmla="*/ 0 w 2600"/>
                  <a:gd name="T101" fmla="*/ 0 h 5045"/>
                  <a:gd name="T102" fmla="*/ 0 w 2600"/>
                  <a:gd name="T103" fmla="*/ 0 h 5045"/>
                  <a:gd name="T104" fmla="*/ 0 w 2600"/>
                  <a:gd name="T105" fmla="*/ 0 h 5045"/>
                  <a:gd name="T106" fmla="*/ 0 w 2600"/>
                  <a:gd name="T107" fmla="*/ 0 h 5045"/>
                  <a:gd name="T108" fmla="*/ 0 w 2600"/>
                  <a:gd name="T109" fmla="*/ 0 h 5045"/>
                  <a:gd name="T110" fmla="*/ 0 w 2600"/>
                  <a:gd name="T111" fmla="*/ 0 h 5045"/>
                  <a:gd name="T112" fmla="*/ 0 w 2600"/>
                  <a:gd name="T113" fmla="*/ 0 h 504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00"/>
                  <a:gd name="T172" fmla="*/ 0 h 5045"/>
                  <a:gd name="T173" fmla="*/ 2600 w 2600"/>
                  <a:gd name="T174" fmla="*/ 5045 h 504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00" h="5045">
                    <a:moveTo>
                      <a:pt x="152" y="295"/>
                    </a:moveTo>
                    <a:lnTo>
                      <a:pt x="160" y="321"/>
                    </a:lnTo>
                    <a:lnTo>
                      <a:pt x="171" y="347"/>
                    </a:lnTo>
                    <a:lnTo>
                      <a:pt x="184" y="372"/>
                    </a:lnTo>
                    <a:lnTo>
                      <a:pt x="197" y="398"/>
                    </a:lnTo>
                    <a:lnTo>
                      <a:pt x="209" y="422"/>
                    </a:lnTo>
                    <a:lnTo>
                      <a:pt x="221" y="448"/>
                    </a:lnTo>
                    <a:lnTo>
                      <a:pt x="232" y="473"/>
                    </a:lnTo>
                    <a:lnTo>
                      <a:pt x="241" y="502"/>
                    </a:lnTo>
                    <a:lnTo>
                      <a:pt x="284" y="564"/>
                    </a:lnTo>
                    <a:lnTo>
                      <a:pt x="327" y="628"/>
                    </a:lnTo>
                    <a:lnTo>
                      <a:pt x="371" y="693"/>
                    </a:lnTo>
                    <a:lnTo>
                      <a:pt x="414" y="758"/>
                    </a:lnTo>
                    <a:lnTo>
                      <a:pt x="459" y="821"/>
                    </a:lnTo>
                    <a:lnTo>
                      <a:pt x="507" y="883"/>
                    </a:lnTo>
                    <a:lnTo>
                      <a:pt x="558" y="941"/>
                    </a:lnTo>
                    <a:lnTo>
                      <a:pt x="613" y="996"/>
                    </a:lnTo>
                    <a:lnTo>
                      <a:pt x="642" y="1028"/>
                    </a:lnTo>
                    <a:lnTo>
                      <a:pt x="668" y="1061"/>
                    </a:lnTo>
                    <a:lnTo>
                      <a:pt x="691" y="1096"/>
                    </a:lnTo>
                    <a:lnTo>
                      <a:pt x="714" y="1133"/>
                    </a:lnTo>
                    <a:lnTo>
                      <a:pt x="736" y="1169"/>
                    </a:lnTo>
                    <a:lnTo>
                      <a:pt x="760" y="1206"/>
                    </a:lnTo>
                    <a:lnTo>
                      <a:pt x="783" y="1242"/>
                    </a:lnTo>
                    <a:lnTo>
                      <a:pt x="810" y="1278"/>
                    </a:lnTo>
                    <a:lnTo>
                      <a:pt x="831" y="1329"/>
                    </a:lnTo>
                    <a:lnTo>
                      <a:pt x="855" y="1379"/>
                    </a:lnTo>
                    <a:lnTo>
                      <a:pt x="881" y="1428"/>
                    </a:lnTo>
                    <a:lnTo>
                      <a:pt x="910" y="1477"/>
                    </a:lnTo>
                    <a:lnTo>
                      <a:pt x="940" y="1523"/>
                    </a:lnTo>
                    <a:lnTo>
                      <a:pt x="973" y="1570"/>
                    </a:lnTo>
                    <a:lnTo>
                      <a:pt x="1007" y="1616"/>
                    </a:lnTo>
                    <a:lnTo>
                      <a:pt x="1044" y="1663"/>
                    </a:lnTo>
                    <a:lnTo>
                      <a:pt x="1085" y="1726"/>
                    </a:lnTo>
                    <a:lnTo>
                      <a:pt x="1133" y="1789"/>
                    </a:lnTo>
                    <a:lnTo>
                      <a:pt x="1182" y="1849"/>
                    </a:lnTo>
                    <a:lnTo>
                      <a:pt x="1235" y="1909"/>
                    </a:lnTo>
                    <a:lnTo>
                      <a:pt x="1287" y="1969"/>
                    </a:lnTo>
                    <a:lnTo>
                      <a:pt x="1341" y="2029"/>
                    </a:lnTo>
                    <a:lnTo>
                      <a:pt x="1393" y="2090"/>
                    </a:lnTo>
                    <a:lnTo>
                      <a:pt x="1444" y="2153"/>
                    </a:lnTo>
                    <a:lnTo>
                      <a:pt x="1456" y="2159"/>
                    </a:lnTo>
                    <a:lnTo>
                      <a:pt x="1469" y="2170"/>
                    </a:lnTo>
                    <a:lnTo>
                      <a:pt x="1480" y="2181"/>
                    </a:lnTo>
                    <a:lnTo>
                      <a:pt x="1492" y="2194"/>
                    </a:lnTo>
                    <a:lnTo>
                      <a:pt x="1502" y="2207"/>
                    </a:lnTo>
                    <a:lnTo>
                      <a:pt x="1511" y="2220"/>
                    </a:lnTo>
                    <a:lnTo>
                      <a:pt x="1521" y="2233"/>
                    </a:lnTo>
                    <a:lnTo>
                      <a:pt x="1532" y="2248"/>
                    </a:lnTo>
                    <a:lnTo>
                      <a:pt x="1552" y="2277"/>
                    </a:lnTo>
                    <a:lnTo>
                      <a:pt x="1572" y="2308"/>
                    </a:lnTo>
                    <a:lnTo>
                      <a:pt x="1592" y="2339"/>
                    </a:lnTo>
                    <a:lnTo>
                      <a:pt x="1613" y="2370"/>
                    </a:lnTo>
                    <a:lnTo>
                      <a:pt x="1632" y="2400"/>
                    </a:lnTo>
                    <a:lnTo>
                      <a:pt x="1654" y="2430"/>
                    </a:lnTo>
                    <a:lnTo>
                      <a:pt x="1675" y="2458"/>
                    </a:lnTo>
                    <a:lnTo>
                      <a:pt x="1696" y="2488"/>
                    </a:lnTo>
                    <a:lnTo>
                      <a:pt x="1708" y="2487"/>
                    </a:lnTo>
                    <a:lnTo>
                      <a:pt x="1718" y="2489"/>
                    </a:lnTo>
                    <a:lnTo>
                      <a:pt x="1725" y="2494"/>
                    </a:lnTo>
                    <a:lnTo>
                      <a:pt x="1731" y="2504"/>
                    </a:lnTo>
                    <a:lnTo>
                      <a:pt x="1735" y="2513"/>
                    </a:lnTo>
                    <a:lnTo>
                      <a:pt x="1741" y="2523"/>
                    </a:lnTo>
                    <a:lnTo>
                      <a:pt x="1745" y="2531"/>
                    </a:lnTo>
                    <a:lnTo>
                      <a:pt x="1752" y="2540"/>
                    </a:lnTo>
                    <a:lnTo>
                      <a:pt x="1753" y="2560"/>
                    </a:lnTo>
                    <a:lnTo>
                      <a:pt x="1756" y="2580"/>
                    </a:lnTo>
                    <a:lnTo>
                      <a:pt x="1759" y="2600"/>
                    </a:lnTo>
                    <a:lnTo>
                      <a:pt x="1764" y="2619"/>
                    </a:lnTo>
                    <a:lnTo>
                      <a:pt x="1768" y="2637"/>
                    </a:lnTo>
                    <a:lnTo>
                      <a:pt x="1775" y="2654"/>
                    </a:lnTo>
                    <a:lnTo>
                      <a:pt x="1783" y="2670"/>
                    </a:lnTo>
                    <a:lnTo>
                      <a:pt x="1795" y="2687"/>
                    </a:lnTo>
                    <a:lnTo>
                      <a:pt x="1801" y="2698"/>
                    </a:lnTo>
                    <a:lnTo>
                      <a:pt x="1808" y="2708"/>
                    </a:lnTo>
                    <a:lnTo>
                      <a:pt x="1816" y="2719"/>
                    </a:lnTo>
                    <a:lnTo>
                      <a:pt x="1826" y="2730"/>
                    </a:lnTo>
                    <a:lnTo>
                      <a:pt x="1834" y="2741"/>
                    </a:lnTo>
                    <a:lnTo>
                      <a:pt x="1844" y="2752"/>
                    </a:lnTo>
                    <a:lnTo>
                      <a:pt x="1852" y="2763"/>
                    </a:lnTo>
                    <a:lnTo>
                      <a:pt x="1859" y="2776"/>
                    </a:lnTo>
                    <a:lnTo>
                      <a:pt x="1904" y="2861"/>
                    </a:lnTo>
                    <a:lnTo>
                      <a:pt x="1947" y="2948"/>
                    </a:lnTo>
                    <a:lnTo>
                      <a:pt x="1990" y="3035"/>
                    </a:lnTo>
                    <a:lnTo>
                      <a:pt x="2030" y="3124"/>
                    </a:lnTo>
                    <a:lnTo>
                      <a:pt x="2066" y="3212"/>
                    </a:lnTo>
                    <a:lnTo>
                      <a:pt x="2100" y="3304"/>
                    </a:lnTo>
                    <a:lnTo>
                      <a:pt x="2128" y="3396"/>
                    </a:lnTo>
                    <a:lnTo>
                      <a:pt x="2153" y="3491"/>
                    </a:lnTo>
                    <a:lnTo>
                      <a:pt x="2193" y="3613"/>
                    </a:lnTo>
                    <a:lnTo>
                      <a:pt x="2228" y="3739"/>
                    </a:lnTo>
                    <a:lnTo>
                      <a:pt x="2258" y="3865"/>
                    </a:lnTo>
                    <a:lnTo>
                      <a:pt x="2287" y="3995"/>
                    </a:lnTo>
                    <a:lnTo>
                      <a:pt x="2313" y="4122"/>
                    </a:lnTo>
                    <a:lnTo>
                      <a:pt x="2343" y="4250"/>
                    </a:lnTo>
                    <a:lnTo>
                      <a:pt x="2378" y="4375"/>
                    </a:lnTo>
                    <a:lnTo>
                      <a:pt x="2420" y="4499"/>
                    </a:lnTo>
                    <a:lnTo>
                      <a:pt x="2432" y="4541"/>
                    </a:lnTo>
                    <a:lnTo>
                      <a:pt x="2445" y="4585"/>
                    </a:lnTo>
                    <a:lnTo>
                      <a:pt x="2460" y="4627"/>
                    </a:lnTo>
                    <a:lnTo>
                      <a:pt x="2475" y="4672"/>
                    </a:lnTo>
                    <a:lnTo>
                      <a:pt x="2488" y="4714"/>
                    </a:lnTo>
                    <a:lnTo>
                      <a:pt x="2502" y="4759"/>
                    </a:lnTo>
                    <a:lnTo>
                      <a:pt x="2514" y="4804"/>
                    </a:lnTo>
                    <a:lnTo>
                      <a:pt x="2524" y="4850"/>
                    </a:lnTo>
                    <a:lnTo>
                      <a:pt x="2600" y="5045"/>
                    </a:lnTo>
                    <a:lnTo>
                      <a:pt x="2572" y="4996"/>
                    </a:lnTo>
                    <a:lnTo>
                      <a:pt x="2543" y="4949"/>
                    </a:lnTo>
                    <a:lnTo>
                      <a:pt x="2514" y="4901"/>
                    </a:lnTo>
                    <a:lnTo>
                      <a:pt x="2485" y="4854"/>
                    </a:lnTo>
                    <a:lnTo>
                      <a:pt x="2456" y="4806"/>
                    </a:lnTo>
                    <a:lnTo>
                      <a:pt x="2431" y="4758"/>
                    </a:lnTo>
                    <a:lnTo>
                      <a:pt x="2408" y="4707"/>
                    </a:lnTo>
                    <a:lnTo>
                      <a:pt x="2391" y="4655"/>
                    </a:lnTo>
                    <a:lnTo>
                      <a:pt x="2352" y="4564"/>
                    </a:lnTo>
                    <a:lnTo>
                      <a:pt x="2313" y="4473"/>
                    </a:lnTo>
                    <a:lnTo>
                      <a:pt x="2274" y="4383"/>
                    </a:lnTo>
                    <a:lnTo>
                      <a:pt x="2236" y="4293"/>
                    </a:lnTo>
                    <a:lnTo>
                      <a:pt x="2194" y="4203"/>
                    </a:lnTo>
                    <a:lnTo>
                      <a:pt x="2153" y="4114"/>
                    </a:lnTo>
                    <a:lnTo>
                      <a:pt x="2108" y="4026"/>
                    </a:lnTo>
                    <a:lnTo>
                      <a:pt x="2063" y="3939"/>
                    </a:lnTo>
                    <a:lnTo>
                      <a:pt x="2043" y="3889"/>
                    </a:lnTo>
                    <a:lnTo>
                      <a:pt x="2024" y="3840"/>
                    </a:lnTo>
                    <a:lnTo>
                      <a:pt x="2004" y="3791"/>
                    </a:lnTo>
                    <a:lnTo>
                      <a:pt x="1984" y="3743"/>
                    </a:lnTo>
                    <a:lnTo>
                      <a:pt x="1962" y="3694"/>
                    </a:lnTo>
                    <a:lnTo>
                      <a:pt x="1939" y="3648"/>
                    </a:lnTo>
                    <a:lnTo>
                      <a:pt x="1912" y="3601"/>
                    </a:lnTo>
                    <a:lnTo>
                      <a:pt x="1883" y="3556"/>
                    </a:lnTo>
                    <a:lnTo>
                      <a:pt x="1850" y="3512"/>
                    </a:lnTo>
                    <a:lnTo>
                      <a:pt x="1819" y="3468"/>
                    </a:lnTo>
                    <a:lnTo>
                      <a:pt x="1790" y="3424"/>
                    </a:lnTo>
                    <a:lnTo>
                      <a:pt x="1763" y="3379"/>
                    </a:lnTo>
                    <a:lnTo>
                      <a:pt x="1733" y="3334"/>
                    </a:lnTo>
                    <a:lnTo>
                      <a:pt x="1706" y="3289"/>
                    </a:lnTo>
                    <a:lnTo>
                      <a:pt x="1677" y="3243"/>
                    </a:lnTo>
                    <a:lnTo>
                      <a:pt x="1647" y="3200"/>
                    </a:lnTo>
                    <a:lnTo>
                      <a:pt x="1638" y="3176"/>
                    </a:lnTo>
                    <a:lnTo>
                      <a:pt x="1627" y="3154"/>
                    </a:lnTo>
                    <a:lnTo>
                      <a:pt x="1615" y="3132"/>
                    </a:lnTo>
                    <a:lnTo>
                      <a:pt x="1603" y="3112"/>
                    </a:lnTo>
                    <a:lnTo>
                      <a:pt x="1590" y="3090"/>
                    </a:lnTo>
                    <a:lnTo>
                      <a:pt x="1577" y="3068"/>
                    </a:lnTo>
                    <a:lnTo>
                      <a:pt x="1566" y="3047"/>
                    </a:lnTo>
                    <a:lnTo>
                      <a:pt x="1558" y="3025"/>
                    </a:lnTo>
                    <a:lnTo>
                      <a:pt x="1520" y="2976"/>
                    </a:lnTo>
                    <a:lnTo>
                      <a:pt x="1484" y="2928"/>
                    </a:lnTo>
                    <a:lnTo>
                      <a:pt x="1448" y="2880"/>
                    </a:lnTo>
                    <a:lnTo>
                      <a:pt x="1415" y="2832"/>
                    </a:lnTo>
                    <a:lnTo>
                      <a:pt x="1381" y="2782"/>
                    </a:lnTo>
                    <a:lnTo>
                      <a:pt x="1349" y="2733"/>
                    </a:lnTo>
                    <a:lnTo>
                      <a:pt x="1318" y="2682"/>
                    </a:lnTo>
                    <a:lnTo>
                      <a:pt x="1290" y="2631"/>
                    </a:lnTo>
                    <a:lnTo>
                      <a:pt x="1250" y="2568"/>
                    </a:lnTo>
                    <a:lnTo>
                      <a:pt x="1216" y="2506"/>
                    </a:lnTo>
                    <a:lnTo>
                      <a:pt x="1181" y="2442"/>
                    </a:lnTo>
                    <a:lnTo>
                      <a:pt x="1148" y="2379"/>
                    </a:lnTo>
                    <a:lnTo>
                      <a:pt x="1113" y="2315"/>
                    </a:lnTo>
                    <a:lnTo>
                      <a:pt x="1080" y="2252"/>
                    </a:lnTo>
                    <a:lnTo>
                      <a:pt x="1044" y="2189"/>
                    </a:lnTo>
                    <a:lnTo>
                      <a:pt x="1008" y="2127"/>
                    </a:lnTo>
                    <a:lnTo>
                      <a:pt x="975" y="2069"/>
                    </a:lnTo>
                    <a:lnTo>
                      <a:pt x="945" y="2013"/>
                    </a:lnTo>
                    <a:lnTo>
                      <a:pt x="916" y="1954"/>
                    </a:lnTo>
                    <a:lnTo>
                      <a:pt x="887" y="1896"/>
                    </a:lnTo>
                    <a:lnTo>
                      <a:pt x="859" y="1838"/>
                    </a:lnTo>
                    <a:lnTo>
                      <a:pt x="832" y="1780"/>
                    </a:lnTo>
                    <a:lnTo>
                      <a:pt x="804" y="1721"/>
                    </a:lnTo>
                    <a:lnTo>
                      <a:pt x="776" y="1664"/>
                    </a:lnTo>
                    <a:lnTo>
                      <a:pt x="763" y="1656"/>
                    </a:lnTo>
                    <a:lnTo>
                      <a:pt x="750" y="1643"/>
                    </a:lnTo>
                    <a:lnTo>
                      <a:pt x="737" y="1625"/>
                    </a:lnTo>
                    <a:lnTo>
                      <a:pt x="724" y="1604"/>
                    </a:lnTo>
                    <a:lnTo>
                      <a:pt x="711" y="1580"/>
                    </a:lnTo>
                    <a:lnTo>
                      <a:pt x="698" y="1557"/>
                    </a:lnTo>
                    <a:lnTo>
                      <a:pt x="686" y="1534"/>
                    </a:lnTo>
                    <a:lnTo>
                      <a:pt x="676" y="1516"/>
                    </a:lnTo>
                    <a:lnTo>
                      <a:pt x="671" y="1509"/>
                    </a:lnTo>
                    <a:lnTo>
                      <a:pt x="668" y="1503"/>
                    </a:lnTo>
                    <a:lnTo>
                      <a:pt x="664" y="1495"/>
                    </a:lnTo>
                    <a:lnTo>
                      <a:pt x="662" y="1489"/>
                    </a:lnTo>
                    <a:lnTo>
                      <a:pt x="659" y="1480"/>
                    </a:lnTo>
                    <a:lnTo>
                      <a:pt x="658" y="1473"/>
                    </a:lnTo>
                    <a:lnTo>
                      <a:pt x="656" y="1466"/>
                    </a:lnTo>
                    <a:lnTo>
                      <a:pt x="655" y="1459"/>
                    </a:lnTo>
                    <a:lnTo>
                      <a:pt x="624" y="1392"/>
                    </a:lnTo>
                    <a:lnTo>
                      <a:pt x="595" y="1326"/>
                    </a:lnTo>
                    <a:lnTo>
                      <a:pt x="563" y="1258"/>
                    </a:lnTo>
                    <a:lnTo>
                      <a:pt x="533" y="1193"/>
                    </a:lnTo>
                    <a:lnTo>
                      <a:pt x="500" y="1126"/>
                    </a:lnTo>
                    <a:lnTo>
                      <a:pt x="469" y="1059"/>
                    </a:lnTo>
                    <a:lnTo>
                      <a:pt x="437" y="993"/>
                    </a:lnTo>
                    <a:lnTo>
                      <a:pt x="408" y="928"/>
                    </a:lnTo>
                    <a:lnTo>
                      <a:pt x="375" y="884"/>
                    </a:lnTo>
                    <a:lnTo>
                      <a:pt x="345" y="841"/>
                    </a:lnTo>
                    <a:lnTo>
                      <a:pt x="314" y="795"/>
                    </a:lnTo>
                    <a:lnTo>
                      <a:pt x="288" y="751"/>
                    </a:lnTo>
                    <a:lnTo>
                      <a:pt x="262" y="703"/>
                    </a:lnTo>
                    <a:lnTo>
                      <a:pt x="240" y="655"/>
                    </a:lnTo>
                    <a:lnTo>
                      <a:pt x="222" y="606"/>
                    </a:lnTo>
                    <a:lnTo>
                      <a:pt x="207" y="557"/>
                    </a:lnTo>
                    <a:lnTo>
                      <a:pt x="197" y="532"/>
                    </a:lnTo>
                    <a:lnTo>
                      <a:pt x="189" y="507"/>
                    </a:lnTo>
                    <a:lnTo>
                      <a:pt x="183" y="482"/>
                    </a:lnTo>
                    <a:lnTo>
                      <a:pt x="176" y="458"/>
                    </a:lnTo>
                    <a:lnTo>
                      <a:pt x="170" y="432"/>
                    </a:lnTo>
                    <a:lnTo>
                      <a:pt x="164" y="407"/>
                    </a:lnTo>
                    <a:lnTo>
                      <a:pt x="158" y="382"/>
                    </a:lnTo>
                    <a:lnTo>
                      <a:pt x="152" y="357"/>
                    </a:lnTo>
                    <a:lnTo>
                      <a:pt x="133" y="315"/>
                    </a:lnTo>
                    <a:lnTo>
                      <a:pt x="113" y="275"/>
                    </a:lnTo>
                    <a:lnTo>
                      <a:pt x="91" y="235"/>
                    </a:lnTo>
                    <a:lnTo>
                      <a:pt x="72" y="195"/>
                    </a:lnTo>
                    <a:lnTo>
                      <a:pt x="51" y="154"/>
                    </a:lnTo>
                    <a:lnTo>
                      <a:pt x="35" y="113"/>
                    </a:lnTo>
                    <a:lnTo>
                      <a:pt x="21" y="70"/>
                    </a:lnTo>
                    <a:lnTo>
                      <a:pt x="11" y="28"/>
                    </a:lnTo>
                    <a:lnTo>
                      <a:pt x="4" y="21"/>
                    </a:lnTo>
                    <a:lnTo>
                      <a:pt x="2" y="15"/>
                    </a:lnTo>
                    <a:lnTo>
                      <a:pt x="1" y="7"/>
                    </a:lnTo>
                    <a:lnTo>
                      <a:pt x="0" y="0"/>
                    </a:lnTo>
                    <a:lnTo>
                      <a:pt x="20" y="34"/>
                    </a:lnTo>
                    <a:lnTo>
                      <a:pt x="39" y="71"/>
                    </a:lnTo>
                    <a:lnTo>
                      <a:pt x="58" y="107"/>
                    </a:lnTo>
                    <a:lnTo>
                      <a:pt x="76" y="145"/>
                    </a:lnTo>
                    <a:lnTo>
                      <a:pt x="94" y="182"/>
                    </a:lnTo>
                    <a:lnTo>
                      <a:pt x="112" y="220"/>
                    </a:lnTo>
                    <a:lnTo>
                      <a:pt x="132" y="257"/>
                    </a:lnTo>
                    <a:lnTo>
                      <a:pt x="152" y="295"/>
                    </a:lnTo>
                    <a:close/>
                  </a:path>
                </a:pathLst>
              </a:custGeom>
              <a:solidFill>
                <a:srgbClr val="BD1A00"/>
              </a:solidFill>
              <a:ln w="9525">
                <a:noFill/>
                <a:round/>
                <a:headEnd/>
                <a:tailEnd/>
              </a:ln>
            </p:spPr>
            <p:txBody>
              <a:bodyPr/>
              <a:lstStyle/>
              <a:p>
                <a:pPr>
                  <a:defRPr/>
                </a:pPr>
                <a:endParaRPr lang="en-US" dirty="0">
                  <a:cs typeface="+mn-cs"/>
                </a:endParaRPr>
              </a:p>
            </p:txBody>
          </p:sp>
          <p:sp>
            <p:nvSpPr>
              <p:cNvPr id="54" name="Freeform 1100"/>
              <p:cNvSpPr>
                <a:spLocks/>
              </p:cNvSpPr>
              <p:nvPr/>
            </p:nvSpPr>
            <p:spPr bwMode="auto">
              <a:xfrm>
                <a:off x="4133" y="2286"/>
                <a:ext cx="646" cy="1255"/>
              </a:xfrm>
              <a:custGeom>
                <a:avLst/>
                <a:gdLst>
                  <a:gd name="T0" fmla="*/ 0 w 2586"/>
                  <a:gd name="T1" fmla="*/ 0 h 5018"/>
                  <a:gd name="T2" fmla="*/ 0 w 2586"/>
                  <a:gd name="T3" fmla="*/ 0 h 5018"/>
                  <a:gd name="T4" fmla="*/ 0 w 2586"/>
                  <a:gd name="T5" fmla="*/ 0 h 5018"/>
                  <a:gd name="T6" fmla="*/ 0 w 2586"/>
                  <a:gd name="T7" fmla="*/ 0 h 5018"/>
                  <a:gd name="T8" fmla="*/ 0 w 2586"/>
                  <a:gd name="T9" fmla="*/ 0 h 5018"/>
                  <a:gd name="T10" fmla="*/ 0 w 2586"/>
                  <a:gd name="T11" fmla="*/ 0 h 5018"/>
                  <a:gd name="T12" fmla="*/ 0 w 2586"/>
                  <a:gd name="T13" fmla="*/ 0 h 5018"/>
                  <a:gd name="T14" fmla="*/ 0 w 2586"/>
                  <a:gd name="T15" fmla="*/ 0 h 5018"/>
                  <a:gd name="T16" fmla="*/ 0 w 2586"/>
                  <a:gd name="T17" fmla="*/ 0 h 5018"/>
                  <a:gd name="T18" fmla="*/ 0 w 2586"/>
                  <a:gd name="T19" fmla="*/ 0 h 5018"/>
                  <a:gd name="T20" fmla="*/ 0 w 2586"/>
                  <a:gd name="T21" fmla="*/ 0 h 5018"/>
                  <a:gd name="T22" fmla="*/ 0 w 2586"/>
                  <a:gd name="T23" fmla="*/ 0 h 5018"/>
                  <a:gd name="T24" fmla="*/ 0 w 2586"/>
                  <a:gd name="T25" fmla="*/ 0 h 5018"/>
                  <a:gd name="T26" fmla="*/ 0 w 2586"/>
                  <a:gd name="T27" fmla="*/ 0 h 5018"/>
                  <a:gd name="T28" fmla="*/ 0 w 2586"/>
                  <a:gd name="T29" fmla="*/ 0 h 5018"/>
                  <a:gd name="T30" fmla="*/ 0 w 2586"/>
                  <a:gd name="T31" fmla="*/ 0 h 5018"/>
                  <a:gd name="T32" fmla="*/ 0 w 2586"/>
                  <a:gd name="T33" fmla="*/ 0 h 5018"/>
                  <a:gd name="T34" fmla="*/ 0 w 2586"/>
                  <a:gd name="T35" fmla="*/ 0 h 5018"/>
                  <a:gd name="T36" fmla="*/ 0 w 2586"/>
                  <a:gd name="T37" fmla="*/ 0 h 5018"/>
                  <a:gd name="T38" fmla="*/ 0 w 2586"/>
                  <a:gd name="T39" fmla="*/ 0 h 5018"/>
                  <a:gd name="T40" fmla="*/ 0 w 2586"/>
                  <a:gd name="T41" fmla="*/ 0 h 5018"/>
                  <a:gd name="T42" fmla="*/ 0 w 2586"/>
                  <a:gd name="T43" fmla="*/ 0 h 5018"/>
                  <a:gd name="T44" fmla="*/ 0 w 2586"/>
                  <a:gd name="T45" fmla="*/ 0 h 5018"/>
                  <a:gd name="T46" fmla="*/ 0 w 2586"/>
                  <a:gd name="T47" fmla="*/ 0 h 5018"/>
                  <a:gd name="T48" fmla="*/ 0 w 2586"/>
                  <a:gd name="T49" fmla="*/ 0 h 5018"/>
                  <a:gd name="T50" fmla="*/ 0 w 2586"/>
                  <a:gd name="T51" fmla="*/ 0 h 5018"/>
                  <a:gd name="T52" fmla="*/ 0 w 2586"/>
                  <a:gd name="T53" fmla="*/ 0 h 5018"/>
                  <a:gd name="T54" fmla="*/ 0 w 2586"/>
                  <a:gd name="T55" fmla="*/ 0 h 5018"/>
                  <a:gd name="T56" fmla="*/ 0 w 2586"/>
                  <a:gd name="T57" fmla="*/ 0 h 5018"/>
                  <a:gd name="T58" fmla="*/ 0 w 2586"/>
                  <a:gd name="T59" fmla="*/ 0 h 5018"/>
                  <a:gd name="T60" fmla="*/ 0 w 2586"/>
                  <a:gd name="T61" fmla="*/ 0 h 5018"/>
                  <a:gd name="T62" fmla="*/ 0 w 2586"/>
                  <a:gd name="T63" fmla="*/ 0 h 5018"/>
                  <a:gd name="T64" fmla="*/ 0 w 2586"/>
                  <a:gd name="T65" fmla="*/ 0 h 5018"/>
                  <a:gd name="T66" fmla="*/ 0 w 2586"/>
                  <a:gd name="T67" fmla="*/ 0 h 5018"/>
                  <a:gd name="T68" fmla="*/ 0 w 2586"/>
                  <a:gd name="T69" fmla="*/ 0 h 5018"/>
                  <a:gd name="T70" fmla="*/ 0 w 2586"/>
                  <a:gd name="T71" fmla="*/ 0 h 5018"/>
                  <a:gd name="T72" fmla="*/ 0 w 2586"/>
                  <a:gd name="T73" fmla="*/ 0 h 5018"/>
                  <a:gd name="T74" fmla="*/ 0 w 2586"/>
                  <a:gd name="T75" fmla="*/ 0 h 5018"/>
                  <a:gd name="T76" fmla="*/ 0 w 2586"/>
                  <a:gd name="T77" fmla="*/ 0 h 5018"/>
                  <a:gd name="T78" fmla="*/ 0 w 2586"/>
                  <a:gd name="T79" fmla="*/ 0 h 5018"/>
                  <a:gd name="T80" fmla="*/ 0 w 2586"/>
                  <a:gd name="T81" fmla="*/ 0 h 5018"/>
                  <a:gd name="T82" fmla="*/ 0 w 2586"/>
                  <a:gd name="T83" fmla="*/ 0 h 5018"/>
                  <a:gd name="T84" fmla="*/ 0 w 2586"/>
                  <a:gd name="T85" fmla="*/ 0 h 5018"/>
                  <a:gd name="T86" fmla="*/ 0 w 2586"/>
                  <a:gd name="T87" fmla="*/ 0 h 5018"/>
                  <a:gd name="T88" fmla="*/ 0 w 2586"/>
                  <a:gd name="T89" fmla="*/ 0 h 5018"/>
                  <a:gd name="T90" fmla="*/ 0 w 2586"/>
                  <a:gd name="T91" fmla="*/ 0 h 5018"/>
                  <a:gd name="T92" fmla="*/ 0 w 2586"/>
                  <a:gd name="T93" fmla="*/ 0 h 5018"/>
                  <a:gd name="T94" fmla="*/ 0 w 2586"/>
                  <a:gd name="T95" fmla="*/ 0 h 5018"/>
                  <a:gd name="T96" fmla="*/ 0 w 2586"/>
                  <a:gd name="T97" fmla="*/ 0 h 5018"/>
                  <a:gd name="T98" fmla="*/ 0 w 2586"/>
                  <a:gd name="T99" fmla="*/ 0 h 5018"/>
                  <a:gd name="T100" fmla="*/ 0 w 2586"/>
                  <a:gd name="T101" fmla="*/ 0 h 5018"/>
                  <a:gd name="T102" fmla="*/ 0 w 2586"/>
                  <a:gd name="T103" fmla="*/ 0 h 5018"/>
                  <a:gd name="T104" fmla="*/ 0 w 2586"/>
                  <a:gd name="T105" fmla="*/ 0 h 5018"/>
                  <a:gd name="T106" fmla="*/ 0 w 2586"/>
                  <a:gd name="T107" fmla="*/ 0 h 5018"/>
                  <a:gd name="T108" fmla="*/ 0 w 2586"/>
                  <a:gd name="T109" fmla="*/ 0 h 5018"/>
                  <a:gd name="T110" fmla="*/ 0 w 2586"/>
                  <a:gd name="T111" fmla="*/ 0 h 5018"/>
                  <a:gd name="T112" fmla="*/ 0 w 2586"/>
                  <a:gd name="T113" fmla="*/ 0 h 501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586"/>
                  <a:gd name="T172" fmla="*/ 0 h 5018"/>
                  <a:gd name="T173" fmla="*/ 2586 w 2586"/>
                  <a:gd name="T174" fmla="*/ 5018 h 501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586" h="5018">
                    <a:moveTo>
                      <a:pt x="138" y="268"/>
                    </a:moveTo>
                    <a:lnTo>
                      <a:pt x="146" y="294"/>
                    </a:lnTo>
                    <a:lnTo>
                      <a:pt x="157" y="320"/>
                    </a:lnTo>
                    <a:lnTo>
                      <a:pt x="170" y="345"/>
                    </a:lnTo>
                    <a:lnTo>
                      <a:pt x="183" y="371"/>
                    </a:lnTo>
                    <a:lnTo>
                      <a:pt x="195" y="395"/>
                    </a:lnTo>
                    <a:lnTo>
                      <a:pt x="207" y="421"/>
                    </a:lnTo>
                    <a:lnTo>
                      <a:pt x="218" y="446"/>
                    </a:lnTo>
                    <a:lnTo>
                      <a:pt x="227" y="475"/>
                    </a:lnTo>
                    <a:lnTo>
                      <a:pt x="270" y="537"/>
                    </a:lnTo>
                    <a:lnTo>
                      <a:pt x="313" y="601"/>
                    </a:lnTo>
                    <a:lnTo>
                      <a:pt x="357" y="666"/>
                    </a:lnTo>
                    <a:lnTo>
                      <a:pt x="400" y="731"/>
                    </a:lnTo>
                    <a:lnTo>
                      <a:pt x="445" y="794"/>
                    </a:lnTo>
                    <a:lnTo>
                      <a:pt x="493" y="856"/>
                    </a:lnTo>
                    <a:lnTo>
                      <a:pt x="544" y="914"/>
                    </a:lnTo>
                    <a:lnTo>
                      <a:pt x="599" y="969"/>
                    </a:lnTo>
                    <a:lnTo>
                      <a:pt x="628" y="1001"/>
                    </a:lnTo>
                    <a:lnTo>
                      <a:pt x="654" y="1034"/>
                    </a:lnTo>
                    <a:lnTo>
                      <a:pt x="677" y="1069"/>
                    </a:lnTo>
                    <a:lnTo>
                      <a:pt x="700" y="1106"/>
                    </a:lnTo>
                    <a:lnTo>
                      <a:pt x="722" y="1142"/>
                    </a:lnTo>
                    <a:lnTo>
                      <a:pt x="746" y="1179"/>
                    </a:lnTo>
                    <a:lnTo>
                      <a:pt x="769" y="1215"/>
                    </a:lnTo>
                    <a:lnTo>
                      <a:pt x="796" y="1251"/>
                    </a:lnTo>
                    <a:lnTo>
                      <a:pt x="817" y="1302"/>
                    </a:lnTo>
                    <a:lnTo>
                      <a:pt x="841" y="1352"/>
                    </a:lnTo>
                    <a:lnTo>
                      <a:pt x="867" y="1401"/>
                    </a:lnTo>
                    <a:lnTo>
                      <a:pt x="896" y="1450"/>
                    </a:lnTo>
                    <a:lnTo>
                      <a:pt x="926" y="1496"/>
                    </a:lnTo>
                    <a:lnTo>
                      <a:pt x="959" y="1543"/>
                    </a:lnTo>
                    <a:lnTo>
                      <a:pt x="993" y="1589"/>
                    </a:lnTo>
                    <a:lnTo>
                      <a:pt x="1030" y="1636"/>
                    </a:lnTo>
                    <a:lnTo>
                      <a:pt x="1071" y="1699"/>
                    </a:lnTo>
                    <a:lnTo>
                      <a:pt x="1119" y="1762"/>
                    </a:lnTo>
                    <a:lnTo>
                      <a:pt x="1168" y="1822"/>
                    </a:lnTo>
                    <a:lnTo>
                      <a:pt x="1221" y="1882"/>
                    </a:lnTo>
                    <a:lnTo>
                      <a:pt x="1273" y="1942"/>
                    </a:lnTo>
                    <a:lnTo>
                      <a:pt x="1327" y="2002"/>
                    </a:lnTo>
                    <a:lnTo>
                      <a:pt x="1379" y="2063"/>
                    </a:lnTo>
                    <a:lnTo>
                      <a:pt x="1430" y="2126"/>
                    </a:lnTo>
                    <a:lnTo>
                      <a:pt x="1442" y="2132"/>
                    </a:lnTo>
                    <a:lnTo>
                      <a:pt x="1455" y="2143"/>
                    </a:lnTo>
                    <a:lnTo>
                      <a:pt x="1466" y="2154"/>
                    </a:lnTo>
                    <a:lnTo>
                      <a:pt x="1478" y="2167"/>
                    </a:lnTo>
                    <a:lnTo>
                      <a:pt x="1488" y="2180"/>
                    </a:lnTo>
                    <a:lnTo>
                      <a:pt x="1497" y="2193"/>
                    </a:lnTo>
                    <a:lnTo>
                      <a:pt x="1507" y="2206"/>
                    </a:lnTo>
                    <a:lnTo>
                      <a:pt x="1518" y="2221"/>
                    </a:lnTo>
                    <a:lnTo>
                      <a:pt x="1538" y="2250"/>
                    </a:lnTo>
                    <a:lnTo>
                      <a:pt x="1558" y="2281"/>
                    </a:lnTo>
                    <a:lnTo>
                      <a:pt x="1578" y="2312"/>
                    </a:lnTo>
                    <a:lnTo>
                      <a:pt x="1599" y="2343"/>
                    </a:lnTo>
                    <a:lnTo>
                      <a:pt x="1618" y="2373"/>
                    </a:lnTo>
                    <a:lnTo>
                      <a:pt x="1640" y="2403"/>
                    </a:lnTo>
                    <a:lnTo>
                      <a:pt x="1661" y="2431"/>
                    </a:lnTo>
                    <a:lnTo>
                      <a:pt x="1682" y="2461"/>
                    </a:lnTo>
                    <a:lnTo>
                      <a:pt x="1694" y="2460"/>
                    </a:lnTo>
                    <a:lnTo>
                      <a:pt x="1704" y="2462"/>
                    </a:lnTo>
                    <a:lnTo>
                      <a:pt x="1711" y="2467"/>
                    </a:lnTo>
                    <a:lnTo>
                      <a:pt x="1717" y="2477"/>
                    </a:lnTo>
                    <a:lnTo>
                      <a:pt x="1721" y="2486"/>
                    </a:lnTo>
                    <a:lnTo>
                      <a:pt x="1727" y="2496"/>
                    </a:lnTo>
                    <a:lnTo>
                      <a:pt x="1731" y="2504"/>
                    </a:lnTo>
                    <a:lnTo>
                      <a:pt x="1738" y="2513"/>
                    </a:lnTo>
                    <a:lnTo>
                      <a:pt x="1739" y="2533"/>
                    </a:lnTo>
                    <a:lnTo>
                      <a:pt x="1742" y="2553"/>
                    </a:lnTo>
                    <a:lnTo>
                      <a:pt x="1745" y="2573"/>
                    </a:lnTo>
                    <a:lnTo>
                      <a:pt x="1750" y="2592"/>
                    </a:lnTo>
                    <a:lnTo>
                      <a:pt x="1754" y="2610"/>
                    </a:lnTo>
                    <a:lnTo>
                      <a:pt x="1761" y="2627"/>
                    </a:lnTo>
                    <a:lnTo>
                      <a:pt x="1769" y="2643"/>
                    </a:lnTo>
                    <a:lnTo>
                      <a:pt x="1781" y="2660"/>
                    </a:lnTo>
                    <a:lnTo>
                      <a:pt x="1787" y="2671"/>
                    </a:lnTo>
                    <a:lnTo>
                      <a:pt x="1794" y="2681"/>
                    </a:lnTo>
                    <a:lnTo>
                      <a:pt x="1802" y="2692"/>
                    </a:lnTo>
                    <a:lnTo>
                      <a:pt x="1812" y="2703"/>
                    </a:lnTo>
                    <a:lnTo>
                      <a:pt x="1820" y="2714"/>
                    </a:lnTo>
                    <a:lnTo>
                      <a:pt x="1830" y="2725"/>
                    </a:lnTo>
                    <a:lnTo>
                      <a:pt x="1838" y="2736"/>
                    </a:lnTo>
                    <a:lnTo>
                      <a:pt x="1845" y="2749"/>
                    </a:lnTo>
                    <a:lnTo>
                      <a:pt x="1890" y="2834"/>
                    </a:lnTo>
                    <a:lnTo>
                      <a:pt x="1933" y="2921"/>
                    </a:lnTo>
                    <a:lnTo>
                      <a:pt x="1976" y="3008"/>
                    </a:lnTo>
                    <a:lnTo>
                      <a:pt x="2016" y="3097"/>
                    </a:lnTo>
                    <a:lnTo>
                      <a:pt x="2052" y="3185"/>
                    </a:lnTo>
                    <a:lnTo>
                      <a:pt x="2086" y="3277"/>
                    </a:lnTo>
                    <a:lnTo>
                      <a:pt x="2114" y="3369"/>
                    </a:lnTo>
                    <a:lnTo>
                      <a:pt x="2139" y="3464"/>
                    </a:lnTo>
                    <a:lnTo>
                      <a:pt x="2179" y="3586"/>
                    </a:lnTo>
                    <a:lnTo>
                      <a:pt x="2214" y="3712"/>
                    </a:lnTo>
                    <a:lnTo>
                      <a:pt x="2244" y="3838"/>
                    </a:lnTo>
                    <a:lnTo>
                      <a:pt x="2273" y="3968"/>
                    </a:lnTo>
                    <a:lnTo>
                      <a:pt x="2299" y="4095"/>
                    </a:lnTo>
                    <a:lnTo>
                      <a:pt x="2329" y="4223"/>
                    </a:lnTo>
                    <a:lnTo>
                      <a:pt x="2364" y="4348"/>
                    </a:lnTo>
                    <a:lnTo>
                      <a:pt x="2406" y="4472"/>
                    </a:lnTo>
                    <a:lnTo>
                      <a:pt x="2418" y="4514"/>
                    </a:lnTo>
                    <a:lnTo>
                      <a:pt x="2431" y="4558"/>
                    </a:lnTo>
                    <a:lnTo>
                      <a:pt x="2446" y="4600"/>
                    </a:lnTo>
                    <a:lnTo>
                      <a:pt x="2461" y="4645"/>
                    </a:lnTo>
                    <a:lnTo>
                      <a:pt x="2474" y="4687"/>
                    </a:lnTo>
                    <a:lnTo>
                      <a:pt x="2488" y="4732"/>
                    </a:lnTo>
                    <a:lnTo>
                      <a:pt x="2500" y="4777"/>
                    </a:lnTo>
                    <a:lnTo>
                      <a:pt x="2510" y="4823"/>
                    </a:lnTo>
                    <a:lnTo>
                      <a:pt x="2586" y="5018"/>
                    </a:lnTo>
                    <a:lnTo>
                      <a:pt x="2558" y="4969"/>
                    </a:lnTo>
                    <a:lnTo>
                      <a:pt x="2529" y="4922"/>
                    </a:lnTo>
                    <a:lnTo>
                      <a:pt x="2500" y="4874"/>
                    </a:lnTo>
                    <a:lnTo>
                      <a:pt x="2471" y="4827"/>
                    </a:lnTo>
                    <a:lnTo>
                      <a:pt x="2442" y="4779"/>
                    </a:lnTo>
                    <a:lnTo>
                      <a:pt x="2417" y="4731"/>
                    </a:lnTo>
                    <a:lnTo>
                      <a:pt x="2394" y="4680"/>
                    </a:lnTo>
                    <a:lnTo>
                      <a:pt x="2377" y="4628"/>
                    </a:lnTo>
                    <a:lnTo>
                      <a:pt x="2338" y="4537"/>
                    </a:lnTo>
                    <a:lnTo>
                      <a:pt x="2302" y="4446"/>
                    </a:lnTo>
                    <a:lnTo>
                      <a:pt x="2266" y="4355"/>
                    </a:lnTo>
                    <a:lnTo>
                      <a:pt x="2231" y="4264"/>
                    </a:lnTo>
                    <a:lnTo>
                      <a:pt x="2194" y="4174"/>
                    </a:lnTo>
                    <a:lnTo>
                      <a:pt x="2155" y="4085"/>
                    </a:lnTo>
                    <a:lnTo>
                      <a:pt x="2113" y="3996"/>
                    </a:lnTo>
                    <a:lnTo>
                      <a:pt x="2068" y="3909"/>
                    </a:lnTo>
                    <a:lnTo>
                      <a:pt x="2049" y="3859"/>
                    </a:lnTo>
                    <a:lnTo>
                      <a:pt x="2029" y="3810"/>
                    </a:lnTo>
                    <a:lnTo>
                      <a:pt x="2010" y="3761"/>
                    </a:lnTo>
                    <a:lnTo>
                      <a:pt x="1990" y="3713"/>
                    </a:lnTo>
                    <a:lnTo>
                      <a:pt x="1967" y="3664"/>
                    </a:lnTo>
                    <a:lnTo>
                      <a:pt x="1944" y="3617"/>
                    </a:lnTo>
                    <a:lnTo>
                      <a:pt x="1917" y="3571"/>
                    </a:lnTo>
                    <a:lnTo>
                      <a:pt x="1889" y="3526"/>
                    </a:lnTo>
                    <a:lnTo>
                      <a:pt x="1855" y="3482"/>
                    </a:lnTo>
                    <a:lnTo>
                      <a:pt x="1825" y="3438"/>
                    </a:lnTo>
                    <a:lnTo>
                      <a:pt x="1795" y="3394"/>
                    </a:lnTo>
                    <a:lnTo>
                      <a:pt x="1768" y="3349"/>
                    </a:lnTo>
                    <a:lnTo>
                      <a:pt x="1739" y="3303"/>
                    </a:lnTo>
                    <a:lnTo>
                      <a:pt x="1712" y="3259"/>
                    </a:lnTo>
                    <a:lnTo>
                      <a:pt x="1682" y="3213"/>
                    </a:lnTo>
                    <a:lnTo>
                      <a:pt x="1653" y="3170"/>
                    </a:lnTo>
                    <a:lnTo>
                      <a:pt x="1643" y="3146"/>
                    </a:lnTo>
                    <a:lnTo>
                      <a:pt x="1632" y="3124"/>
                    </a:lnTo>
                    <a:lnTo>
                      <a:pt x="1620" y="3102"/>
                    </a:lnTo>
                    <a:lnTo>
                      <a:pt x="1608" y="3082"/>
                    </a:lnTo>
                    <a:lnTo>
                      <a:pt x="1595" y="3060"/>
                    </a:lnTo>
                    <a:lnTo>
                      <a:pt x="1582" y="3038"/>
                    </a:lnTo>
                    <a:lnTo>
                      <a:pt x="1571" y="3016"/>
                    </a:lnTo>
                    <a:lnTo>
                      <a:pt x="1564" y="2995"/>
                    </a:lnTo>
                    <a:lnTo>
                      <a:pt x="1526" y="2946"/>
                    </a:lnTo>
                    <a:lnTo>
                      <a:pt x="1490" y="2898"/>
                    </a:lnTo>
                    <a:lnTo>
                      <a:pt x="1454" y="2849"/>
                    </a:lnTo>
                    <a:lnTo>
                      <a:pt x="1420" y="2801"/>
                    </a:lnTo>
                    <a:lnTo>
                      <a:pt x="1387" y="2751"/>
                    </a:lnTo>
                    <a:lnTo>
                      <a:pt x="1355" y="2702"/>
                    </a:lnTo>
                    <a:lnTo>
                      <a:pt x="1325" y="2652"/>
                    </a:lnTo>
                    <a:lnTo>
                      <a:pt x="1296" y="2601"/>
                    </a:lnTo>
                    <a:lnTo>
                      <a:pt x="1257" y="2538"/>
                    </a:lnTo>
                    <a:lnTo>
                      <a:pt x="1221" y="2476"/>
                    </a:lnTo>
                    <a:lnTo>
                      <a:pt x="1185" y="2412"/>
                    </a:lnTo>
                    <a:lnTo>
                      <a:pt x="1153" y="2349"/>
                    </a:lnTo>
                    <a:lnTo>
                      <a:pt x="1119" y="2285"/>
                    </a:lnTo>
                    <a:lnTo>
                      <a:pt x="1085" y="2222"/>
                    </a:lnTo>
                    <a:lnTo>
                      <a:pt x="1049" y="2159"/>
                    </a:lnTo>
                    <a:lnTo>
                      <a:pt x="1014" y="2097"/>
                    </a:lnTo>
                    <a:lnTo>
                      <a:pt x="981" y="2039"/>
                    </a:lnTo>
                    <a:lnTo>
                      <a:pt x="951" y="1982"/>
                    </a:lnTo>
                    <a:lnTo>
                      <a:pt x="921" y="1925"/>
                    </a:lnTo>
                    <a:lnTo>
                      <a:pt x="893" y="1867"/>
                    </a:lnTo>
                    <a:lnTo>
                      <a:pt x="865" y="1808"/>
                    </a:lnTo>
                    <a:lnTo>
                      <a:pt x="837" y="1750"/>
                    </a:lnTo>
                    <a:lnTo>
                      <a:pt x="809" y="1691"/>
                    </a:lnTo>
                    <a:lnTo>
                      <a:pt x="782" y="1635"/>
                    </a:lnTo>
                    <a:lnTo>
                      <a:pt x="767" y="1624"/>
                    </a:lnTo>
                    <a:lnTo>
                      <a:pt x="749" y="1603"/>
                    </a:lnTo>
                    <a:lnTo>
                      <a:pt x="729" y="1574"/>
                    </a:lnTo>
                    <a:lnTo>
                      <a:pt x="708" y="1540"/>
                    </a:lnTo>
                    <a:lnTo>
                      <a:pt x="686" y="1502"/>
                    </a:lnTo>
                    <a:lnTo>
                      <a:pt x="666" y="1464"/>
                    </a:lnTo>
                    <a:lnTo>
                      <a:pt x="647" y="1428"/>
                    </a:lnTo>
                    <a:lnTo>
                      <a:pt x="632" y="1399"/>
                    </a:lnTo>
                    <a:lnTo>
                      <a:pt x="622" y="1387"/>
                    </a:lnTo>
                    <a:lnTo>
                      <a:pt x="615" y="1376"/>
                    </a:lnTo>
                    <a:lnTo>
                      <a:pt x="607" y="1365"/>
                    </a:lnTo>
                    <a:lnTo>
                      <a:pt x="600" y="1354"/>
                    </a:lnTo>
                    <a:lnTo>
                      <a:pt x="594" y="1342"/>
                    </a:lnTo>
                    <a:lnTo>
                      <a:pt x="590" y="1330"/>
                    </a:lnTo>
                    <a:lnTo>
                      <a:pt x="585" y="1317"/>
                    </a:lnTo>
                    <a:lnTo>
                      <a:pt x="582" y="1304"/>
                    </a:lnTo>
                    <a:lnTo>
                      <a:pt x="555" y="1243"/>
                    </a:lnTo>
                    <a:lnTo>
                      <a:pt x="528" y="1182"/>
                    </a:lnTo>
                    <a:lnTo>
                      <a:pt x="498" y="1120"/>
                    </a:lnTo>
                    <a:lnTo>
                      <a:pt x="469" y="1059"/>
                    </a:lnTo>
                    <a:lnTo>
                      <a:pt x="439" y="997"/>
                    </a:lnTo>
                    <a:lnTo>
                      <a:pt x="410" y="937"/>
                    </a:lnTo>
                    <a:lnTo>
                      <a:pt x="382" y="875"/>
                    </a:lnTo>
                    <a:lnTo>
                      <a:pt x="356" y="816"/>
                    </a:lnTo>
                    <a:lnTo>
                      <a:pt x="324" y="771"/>
                    </a:lnTo>
                    <a:lnTo>
                      <a:pt x="295" y="727"/>
                    </a:lnTo>
                    <a:lnTo>
                      <a:pt x="266" y="681"/>
                    </a:lnTo>
                    <a:lnTo>
                      <a:pt x="239" y="635"/>
                    </a:lnTo>
                    <a:lnTo>
                      <a:pt x="214" y="587"/>
                    </a:lnTo>
                    <a:lnTo>
                      <a:pt x="193" y="539"/>
                    </a:lnTo>
                    <a:lnTo>
                      <a:pt x="173" y="489"/>
                    </a:lnTo>
                    <a:lnTo>
                      <a:pt x="159" y="439"/>
                    </a:lnTo>
                    <a:lnTo>
                      <a:pt x="149" y="417"/>
                    </a:lnTo>
                    <a:lnTo>
                      <a:pt x="143" y="395"/>
                    </a:lnTo>
                    <a:lnTo>
                      <a:pt x="136" y="373"/>
                    </a:lnTo>
                    <a:lnTo>
                      <a:pt x="132" y="353"/>
                    </a:lnTo>
                    <a:lnTo>
                      <a:pt x="125" y="330"/>
                    </a:lnTo>
                    <a:lnTo>
                      <a:pt x="121" y="309"/>
                    </a:lnTo>
                    <a:lnTo>
                      <a:pt x="115" y="288"/>
                    </a:lnTo>
                    <a:lnTo>
                      <a:pt x="111" y="267"/>
                    </a:lnTo>
                    <a:lnTo>
                      <a:pt x="97" y="234"/>
                    </a:lnTo>
                    <a:lnTo>
                      <a:pt x="82" y="205"/>
                    </a:lnTo>
                    <a:lnTo>
                      <a:pt x="67" y="175"/>
                    </a:lnTo>
                    <a:lnTo>
                      <a:pt x="51" y="145"/>
                    </a:lnTo>
                    <a:lnTo>
                      <a:pt x="36" y="115"/>
                    </a:lnTo>
                    <a:lnTo>
                      <a:pt x="24" y="84"/>
                    </a:lnTo>
                    <a:lnTo>
                      <a:pt x="14" y="52"/>
                    </a:lnTo>
                    <a:lnTo>
                      <a:pt x="8" y="20"/>
                    </a:lnTo>
                    <a:lnTo>
                      <a:pt x="2" y="15"/>
                    </a:lnTo>
                    <a:lnTo>
                      <a:pt x="1" y="9"/>
                    </a:lnTo>
                    <a:lnTo>
                      <a:pt x="0" y="4"/>
                    </a:lnTo>
                    <a:lnTo>
                      <a:pt x="0" y="0"/>
                    </a:lnTo>
                    <a:lnTo>
                      <a:pt x="18" y="31"/>
                    </a:lnTo>
                    <a:lnTo>
                      <a:pt x="35" y="64"/>
                    </a:lnTo>
                    <a:lnTo>
                      <a:pt x="51" y="97"/>
                    </a:lnTo>
                    <a:lnTo>
                      <a:pt x="68" y="132"/>
                    </a:lnTo>
                    <a:lnTo>
                      <a:pt x="84" y="166"/>
                    </a:lnTo>
                    <a:lnTo>
                      <a:pt x="101" y="200"/>
                    </a:lnTo>
                    <a:lnTo>
                      <a:pt x="119" y="233"/>
                    </a:lnTo>
                    <a:lnTo>
                      <a:pt x="138" y="268"/>
                    </a:lnTo>
                    <a:close/>
                  </a:path>
                </a:pathLst>
              </a:custGeom>
              <a:solidFill>
                <a:srgbClr val="C81A00"/>
              </a:solidFill>
              <a:ln w="9525">
                <a:noFill/>
                <a:round/>
                <a:headEnd/>
                <a:tailEnd/>
              </a:ln>
            </p:spPr>
            <p:txBody>
              <a:bodyPr/>
              <a:lstStyle/>
              <a:p>
                <a:pPr>
                  <a:defRPr/>
                </a:pPr>
                <a:endParaRPr lang="en-US" dirty="0">
                  <a:cs typeface="+mn-cs"/>
                </a:endParaRPr>
              </a:p>
            </p:txBody>
          </p:sp>
          <p:sp>
            <p:nvSpPr>
              <p:cNvPr id="55" name="Freeform 1101"/>
              <p:cNvSpPr>
                <a:spLocks/>
              </p:cNvSpPr>
              <p:nvPr/>
            </p:nvSpPr>
            <p:spPr bwMode="auto">
              <a:xfrm>
                <a:off x="4136" y="2293"/>
                <a:ext cx="643" cy="1248"/>
              </a:xfrm>
              <a:custGeom>
                <a:avLst/>
                <a:gdLst>
                  <a:gd name="T0" fmla="*/ 0 w 2573"/>
                  <a:gd name="T1" fmla="*/ 0 h 4992"/>
                  <a:gd name="T2" fmla="*/ 0 w 2573"/>
                  <a:gd name="T3" fmla="*/ 0 h 4992"/>
                  <a:gd name="T4" fmla="*/ 0 w 2573"/>
                  <a:gd name="T5" fmla="*/ 0 h 4992"/>
                  <a:gd name="T6" fmla="*/ 0 w 2573"/>
                  <a:gd name="T7" fmla="*/ 0 h 4992"/>
                  <a:gd name="T8" fmla="*/ 0 w 2573"/>
                  <a:gd name="T9" fmla="*/ 0 h 4992"/>
                  <a:gd name="T10" fmla="*/ 0 w 2573"/>
                  <a:gd name="T11" fmla="*/ 0 h 4992"/>
                  <a:gd name="T12" fmla="*/ 0 w 2573"/>
                  <a:gd name="T13" fmla="*/ 0 h 4992"/>
                  <a:gd name="T14" fmla="*/ 0 w 2573"/>
                  <a:gd name="T15" fmla="*/ 0 h 4992"/>
                  <a:gd name="T16" fmla="*/ 0 w 2573"/>
                  <a:gd name="T17" fmla="*/ 0 h 4992"/>
                  <a:gd name="T18" fmla="*/ 0 w 2573"/>
                  <a:gd name="T19" fmla="*/ 0 h 4992"/>
                  <a:gd name="T20" fmla="*/ 0 w 2573"/>
                  <a:gd name="T21" fmla="*/ 0 h 4992"/>
                  <a:gd name="T22" fmla="*/ 0 w 2573"/>
                  <a:gd name="T23" fmla="*/ 0 h 4992"/>
                  <a:gd name="T24" fmla="*/ 0 w 2573"/>
                  <a:gd name="T25" fmla="*/ 0 h 4992"/>
                  <a:gd name="T26" fmla="*/ 0 w 2573"/>
                  <a:gd name="T27" fmla="*/ 0 h 4992"/>
                  <a:gd name="T28" fmla="*/ 0 w 2573"/>
                  <a:gd name="T29" fmla="*/ 0 h 4992"/>
                  <a:gd name="T30" fmla="*/ 0 w 2573"/>
                  <a:gd name="T31" fmla="*/ 0 h 4992"/>
                  <a:gd name="T32" fmla="*/ 0 w 2573"/>
                  <a:gd name="T33" fmla="*/ 0 h 4992"/>
                  <a:gd name="T34" fmla="*/ 0 w 2573"/>
                  <a:gd name="T35" fmla="*/ 0 h 4992"/>
                  <a:gd name="T36" fmla="*/ 0 w 2573"/>
                  <a:gd name="T37" fmla="*/ 0 h 4992"/>
                  <a:gd name="T38" fmla="*/ 0 w 2573"/>
                  <a:gd name="T39" fmla="*/ 0 h 4992"/>
                  <a:gd name="T40" fmla="*/ 0 w 2573"/>
                  <a:gd name="T41" fmla="*/ 0 h 4992"/>
                  <a:gd name="T42" fmla="*/ 0 w 2573"/>
                  <a:gd name="T43" fmla="*/ 0 h 4992"/>
                  <a:gd name="T44" fmla="*/ 0 w 2573"/>
                  <a:gd name="T45" fmla="*/ 0 h 4992"/>
                  <a:gd name="T46" fmla="*/ 0 w 2573"/>
                  <a:gd name="T47" fmla="*/ 0 h 4992"/>
                  <a:gd name="T48" fmla="*/ 0 w 2573"/>
                  <a:gd name="T49" fmla="*/ 0 h 4992"/>
                  <a:gd name="T50" fmla="*/ 0 w 2573"/>
                  <a:gd name="T51" fmla="*/ 0 h 4992"/>
                  <a:gd name="T52" fmla="*/ 0 w 2573"/>
                  <a:gd name="T53" fmla="*/ 0 h 4992"/>
                  <a:gd name="T54" fmla="*/ 0 w 2573"/>
                  <a:gd name="T55" fmla="*/ 0 h 4992"/>
                  <a:gd name="T56" fmla="*/ 0 w 2573"/>
                  <a:gd name="T57" fmla="*/ 0 h 4992"/>
                  <a:gd name="T58" fmla="*/ 0 w 2573"/>
                  <a:gd name="T59" fmla="*/ 0 h 4992"/>
                  <a:gd name="T60" fmla="*/ 0 w 2573"/>
                  <a:gd name="T61" fmla="*/ 0 h 4992"/>
                  <a:gd name="T62" fmla="*/ 0 w 2573"/>
                  <a:gd name="T63" fmla="*/ 0 h 4992"/>
                  <a:gd name="T64" fmla="*/ 0 w 2573"/>
                  <a:gd name="T65" fmla="*/ 0 h 4992"/>
                  <a:gd name="T66" fmla="*/ 0 w 2573"/>
                  <a:gd name="T67" fmla="*/ 0 h 4992"/>
                  <a:gd name="T68" fmla="*/ 0 w 2573"/>
                  <a:gd name="T69" fmla="*/ 0 h 4992"/>
                  <a:gd name="T70" fmla="*/ 0 w 2573"/>
                  <a:gd name="T71" fmla="*/ 0 h 4992"/>
                  <a:gd name="T72" fmla="*/ 0 w 2573"/>
                  <a:gd name="T73" fmla="*/ 0 h 4992"/>
                  <a:gd name="T74" fmla="*/ 0 w 2573"/>
                  <a:gd name="T75" fmla="*/ 0 h 4992"/>
                  <a:gd name="T76" fmla="*/ 0 w 2573"/>
                  <a:gd name="T77" fmla="*/ 0 h 4992"/>
                  <a:gd name="T78" fmla="*/ 0 w 2573"/>
                  <a:gd name="T79" fmla="*/ 0 h 4992"/>
                  <a:gd name="T80" fmla="*/ 0 w 2573"/>
                  <a:gd name="T81" fmla="*/ 0 h 4992"/>
                  <a:gd name="T82" fmla="*/ 0 w 2573"/>
                  <a:gd name="T83" fmla="*/ 0 h 4992"/>
                  <a:gd name="T84" fmla="*/ 0 w 2573"/>
                  <a:gd name="T85" fmla="*/ 0 h 4992"/>
                  <a:gd name="T86" fmla="*/ 0 w 2573"/>
                  <a:gd name="T87" fmla="*/ 0 h 4992"/>
                  <a:gd name="T88" fmla="*/ 0 w 2573"/>
                  <a:gd name="T89" fmla="*/ 0 h 4992"/>
                  <a:gd name="T90" fmla="*/ 0 w 2573"/>
                  <a:gd name="T91" fmla="*/ 0 h 4992"/>
                  <a:gd name="T92" fmla="*/ 0 w 2573"/>
                  <a:gd name="T93" fmla="*/ 0 h 4992"/>
                  <a:gd name="T94" fmla="*/ 0 w 2573"/>
                  <a:gd name="T95" fmla="*/ 0 h 4992"/>
                  <a:gd name="T96" fmla="*/ 0 w 2573"/>
                  <a:gd name="T97" fmla="*/ 0 h 4992"/>
                  <a:gd name="T98" fmla="*/ 0 w 2573"/>
                  <a:gd name="T99" fmla="*/ 0 h 4992"/>
                  <a:gd name="T100" fmla="*/ 0 w 2573"/>
                  <a:gd name="T101" fmla="*/ 0 h 4992"/>
                  <a:gd name="T102" fmla="*/ 0 w 2573"/>
                  <a:gd name="T103" fmla="*/ 0 h 4992"/>
                  <a:gd name="T104" fmla="*/ 0 w 2573"/>
                  <a:gd name="T105" fmla="*/ 0 h 4992"/>
                  <a:gd name="T106" fmla="*/ 0 w 2573"/>
                  <a:gd name="T107" fmla="*/ 0 h 4992"/>
                  <a:gd name="T108" fmla="*/ 0 w 2573"/>
                  <a:gd name="T109" fmla="*/ 0 h 4992"/>
                  <a:gd name="T110" fmla="*/ 0 w 2573"/>
                  <a:gd name="T111" fmla="*/ 0 h 4992"/>
                  <a:gd name="T112" fmla="*/ 0 w 2573"/>
                  <a:gd name="T113" fmla="*/ 0 h 49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573"/>
                  <a:gd name="T172" fmla="*/ 0 h 4992"/>
                  <a:gd name="T173" fmla="*/ 2573 w 2573"/>
                  <a:gd name="T174" fmla="*/ 4992 h 49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573" h="4992">
                    <a:moveTo>
                      <a:pt x="125" y="242"/>
                    </a:moveTo>
                    <a:lnTo>
                      <a:pt x="133" y="268"/>
                    </a:lnTo>
                    <a:lnTo>
                      <a:pt x="144" y="294"/>
                    </a:lnTo>
                    <a:lnTo>
                      <a:pt x="157" y="319"/>
                    </a:lnTo>
                    <a:lnTo>
                      <a:pt x="170" y="345"/>
                    </a:lnTo>
                    <a:lnTo>
                      <a:pt x="182" y="369"/>
                    </a:lnTo>
                    <a:lnTo>
                      <a:pt x="194" y="395"/>
                    </a:lnTo>
                    <a:lnTo>
                      <a:pt x="205" y="420"/>
                    </a:lnTo>
                    <a:lnTo>
                      <a:pt x="214" y="449"/>
                    </a:lnTo>
                    <a:lnTo>
                      <a:pt x="257" y="511"/>
                    </a:lnTo>
                    <a:lnTo>
                      <a:pt x="300" y="575"/>
                    </a:lnTo>
                    <a:lnTo>
                      <a:pt x="344" y="640"/>
                    </a:lnTo>
                    <a:lnTo>
                      <a:pt x="387" y="705"/>
                    </a:lnTo>
                    <a:lnTo>
                      <a:pt x="432" y="768"/>
                    </a:lnTo>
                    <a:lnTo>
                      <a:pt x="480" y="830"/>
                    </a:lnTo>
                    <a:lnTo>
                      <a:pt x="531" y="888"/>
                    </a:lnTo>
                    <a:lnTo>
                      <a:pt x="586" y="943"/>
                    </a:lnTo>
                    <a:lnTo>
                      <a:pt x="615" y="975"/>
                    </a:lnTo>
                    <a:lnTo>
                      <a:pt x="641" y="1008"/>
                    </a:lnTo>
                    <a:lnTo>
                      <a:pt x="664" y="1043"/>
                    </a:lnTo>
                    <a:lnTo>
                      <a:pt x="687" y="1080"/>
                    </a:lnTo>
                    <a:lnTo>
                      <a:pt x="709" y="1116"/>
                    </a:lnTo>
                    <a:lnTo>
                      <a:pt x="733" y="1153"/>
                    </a:lnTo>
                    <a:lnTo>
                      <a:pt x="756" y="1189"/>
                    </a:lnTo>
                    <a:lnTo>
                      <a:pt x="783" y="1225"/>
                    </a:lnTo>
                    <a:lnTo>
                      <a:pt x="804" y="1276"/>
                    </a:lnTo>
                    <a:lnTo>
                      <a:pt x="828" y="1326"/>
                    </a:lnTo>
                    <a:lnTo>
                      <a:pt x="854" y="1375"/>
                    </a:lnTo>
                    <a:lnTo>
                      <a:pt x="883" y="1424"/>
                    </a:lnTo>
                    <a:lnTo>
                      <a:pt x="913" y="1470"/>
                    </a:lnTo>
                    <a:lnTo>
                      <a:pt x="946" y="1517"/>
                    </a:lnTo>
                    <a:lnTo>
                      <a:pt x="980" y="1563"/>
                    </a:lnTo>
                    <a:lnTo>
                      <a:pt x="1017" y="1610"/>
                    </a:lnTo>
                    <a:lnTo>
                      <a:pt x="1058" y="1673"/>
                    </a:lnTo>
                    <a:lnTo>
                      <a:pt x="1106" y="1736"/>
                    </a:lnTo>
                    <a:lnTo>
                      <a:pt x="1155" y="1796"/>
                    </a:lnTo>
                    <a:lnTo>
                      <a:pt x="1208" y="1856"/>
                    </a:lnTo>
                    <a:lnTo>
                      <a:pt x="1260" y="1916"/>
                    </a:lnTo>
                    <a:lnTo>
                      <a:pt x="1314" y="1976"/>
                    </a:lnTo>
                    <a:lnTo>
                      <a:pt x="1366" y="2037"/>
                    </a:lnTo>
                    <a:lnTo>
                      <a:pt x="1417" y="2100"/>
                    </a:lnTo>
                    <a:lnTo>
                      <a:pt x="1429" y="2106"/>
                    </a:lnTo>
                    <a:lnTo>
                      <a:pt x="1442" y="2117"/>
                    </a:lnTo>
                    <a:lnTo>
                      <a:pt x="1453" y="2128"/>
                    </a:lnTo>
                    <a:lnTo>
                      <a:pt x="1465" y="2141"/>
                    </a:lnTo>
                    <a:lnTo>
                      <a:pt x="1475" y="2154"/>
                    </a:lnTo>
                    <a:lnTo>
                      <a:pt x="1484" y="2167"/>
                    </a:lnTo>
                    <a:lnTo>
                      <a:pt x="1494" y="2180"/>
                    </a:lnTo>
                    <a:lnTo>
                      <a:pt x="1505" y="2195"/>
                    </a:lnTo>
                    <a:lnTo>
                      <a:pt x="1525" y="2224"/>
                    </a:lnTo>
                    <a:lnTo>
                      <a:pt x="1545" y="2255"/>
                    </a:lnTo>
                    <a:lnTo>
                      <a:pt x="1565" y="2286"/>
                    </a:lnTo>
                    <a:lnTo>
                      <a:pt x="1586" y="2317"/>
                    </a:lnTo>
                    <a:lnTo>
                      <a:pt x="1605" y="2347"/>
                    </a:lnTo>
                    <a:lnTo>
                      <a:pt x="1627" y="2377"/>
                    </a:lnTo>
                    <a:lnTo>
                      <a:pt x="1648" y="2405"/>
                    </a:lnTo>
                    <a:lnTo>
                      <a:pt x="1669" y="2435"/>
                    </a:lnTo>
                    <a:lnTo>
                      <a:pt x="1681" y="2434"/>
                    </a:lnTo>
                    <a:lnTo>
                      <a:pt x="1691" y="2436"/>
                    </a:lnTo>
                    <a:lnTo>
                      <a:pt x="1698" y="2441"/>
                    </a:lnTo>
                    <a:lnTo>
                      <a:pt x="1704" y="2451"/>
                    </a:lnTo>
                    <a:lnTo>
                      <a:pt x="1708" y="2460"/>
                    </a:lnTo>
                    <a:lnTo>
                      <a:pt x="1714" y="2470"/>
                    </a:lnTo>
                    <a:lnTo>
                      <a:pt x="1718" y="2478"/>
                    </a:lnTo>
                    <a:lnTo>
                      <a:pt x="1725" y="2487"/>
                    </a:lnTo>
                    <a:lnTo>
                      <a:pt x="1726" y="2507"/>
                    </a:lnTo>
                    <a:lnTo>
                      <a:pt x="1729" y="2527"/>
                    </a:lnTo>
                    <a:lnTo>
                      <a:pt x="1732" y="2547"/>
                    </a:lnTo>
                    <a:lnTo>
                      <a:pt x="1737" y="2566"/>
                    </a:lnTo>
                    <a:lnTo>
                      <a:pt x="1741" y="2584"/>
                    </a:lnTo>
                    <a:lnTo>
                      <a:pt x="1748" y="2601"/>
                    </a:lnTo>
                    <a:lnTo>
                      <a:pt x="1756" y="2617"/>
                    </a:lnTo>
                    <a:lnTo>
                      <a:pt x="1768" y="2634"/>
                    </a:lnTo>
                    <a:lnTo>
                      <a:pt x="1774" y="2645"/>
                    </a:lnTo>
                    <a:lnTo>
                      <a:pt x="1781" y="2655"/>
                    </a:lnTo>
                    <a:lnTo>
                      <a:pt x="1789" y="2666"/>
                    </a:lnTo>
                    <a:lnTo>
                      <a:pt x="1799" y="2677"/>
                    </a:lnTo>
                    <a:lnTo>
                      <a:pt x="1807" y="2688"/>
                    </a:lnTo>
                    <a:lnTo>
                      <a:pt x="1817" y="2699"/>
                    </a:lnTo>
                    <a:lnTo>
                      <a:pt x="1825" y="2710"/>
                    </a:lnTo>
                    <a:lnTo>
                      <a:pt x="1832" y="2723"/>
                    </a:lnTo>
                    <a:lnTo>
                      <a:pt x="1877" y="2808"/>
                    </a:lnTo>
                    <a:lnTo>
                      <a:pt x="1920" y="2895"/>
                    </a:lnTo>
                    <a:lnTo>
                      <a:pt x="1963" y="2982"/>
                    </a:lnTo>
                    <a:lnTo>
                      <a:pt x="2003" y="3071"/>
                    </a:lnTo>
                    <a:lnTo>
                      <a:pt x="2039" y="3159"/>
                    </a:lnTo>
                    <a:lnTo>
                      <a:pt x="2073" y="3251"/>
                    </a:lnTo>
                    <a:lnTo>
                      <a:pt x="2101" y="3343"/>
                    </a:lnTo>
                    <a:lnTo>
                      <a:pt x="2126" y="3438"/>
                    </a:lnTo>
                    <a:lnTo>
                      <a:pt x="2166" y="3560"/>
                    </a:lnTo>
                    <a:lnTo>
                      <a:pt x="2201" y="3686"/>
                    </a:lnTo>
                    <a:lnTo>
                      <a:pt x="2231" y="3812"/>
                    </a:lnTo>
                    <a:lnTo>
                      <a:pt x="2260" y="3942"/>
                    </a:lnTo>
                    <a:lnTo>
                      <a:pt x="2286" y="4069"/>
                    </a:lnTo>
                    <a:lnTo>
                      <a:pt x="2316" y="4197"/>
                    </a:lnTo>
                    <a:lnTo>
                      <a:pt x="2351" y="4322"/>
                    </a:lnTo>
                    <a:lnTo>
                      <a:pt x="2393" y="4446"/>
                    </a:lnTo>
                    <a:lnTo>
                      <a:pt x="2405" y="4488"/>
                    </a:lnTo>
                    <a:lnTo>
                      <a:pt x="2418" y="4532"/>
                    </a:lnTo>
                    <a:lnTo>
                      <a:pt x="2433" y="4574"/>
                    </a:lnTo>
                    <a:lnTo>
                      <a:pt x="2448" y="4619"/>
                    </a:lnTo>
                    <a:lnTo>
                      <a:pt x="2461" y="4661"/>
                    </a:lnTo>
                    <a:lnTo>
                      <a:pt x="2475" y="4706"/>
                    </a:lnTo>
                    <a:lnTo>
                      <a:pt x="2487" y="4751"/>
                    </a:lnTo>
                    <a:lnTo>
                      <a:pt x="2497" y="4797"/>
                    </a:lnTo>
                    <a:lnTo>
                      <a:pt x="2573" y="4992"/>
                    </a:lnTo>
                    <a:lnTo>
                      <a:pt x="2545" y="4943"/>
                    </a:lnTo>
                    <a:lnTo>
                      <a:pt x="2516" y="4896"/>
                    </a:lnTo>
                    <a:lnTo>
                      <a:pt x="2487" y="4848"/>
                    </a:lnTo>
                    <a:lnTo>
                      <a:pt x="2458" y="4801"/>
                    </a:lnTo>
                    <a:lnTo>
                      <a:pt x="2429" y="4753"/>
                    </a:lnTo>
                    <a:lnTo>
                      <a:pt x="2404" y="4705"/>
                    </a:lnTo>
                    <a:lnTo>
                      <a:pt x="2381" y="4654"/>
                    </a:lnTo>
                    <a:lnTo>
                      <a:pt x="2364" y="4602"/>
                    </a:lnTo>
                    <a:lnTo>
                      <a:pt x="2326" y="4510"/>
                    </a:lnTo>
                    <a:lnTo>
                      <a:pt x="2292" y="4419"/>
                    </a:lnTo>
                    <a:lnTo>
                      <a:pt x="2260" y="4327"/>
                    </a:lnTo>
                    <a:lnTo>
                      <a:pt x="2228" y="4237"/>
                    </a:lnTo>
                    <a:lnTo>
                      <a:pt x="2194" y="4146"/>
                    </a:lnTo>
                    <a:lnTo>
                      <a:pt x="2159" y="4056"/>
                    </a:lnTo>
                    <a:lnTo>
                      <a:pt x="2118" y="3967"/>
                    </a:lnTo>
                    <a:lnTo>
                      <a:pt x="2075" y="3880"/>
                    </a:lnTo>
                    <a:lnTo>
                      <a:pt x="2055" y="3830"/>
                    </a:lnTo>
                    <a:lnTo>
                      <a:pt x="2036" y="3781"/>
                    </a:lnTo>
                    <a:lnTo>
                      <a:pt x="2016" y="3732"/>
                    </a:lnTo>
                    <a:lnTo>
                      <a:pt x="1997" y="3684"/>
                    </a:lnTo>
                    <a:lnTo>
                      <a:pt x="1974" y="3635"/>
                    </a:lnTo>
                    <a:lnTo>
                      <a:pt x="1951" y="3588"/>
                    </a:lnTo>
                    <a:lnTo>
                      <a:pt x="1924" y="3541"/>
                    </a:lnTo>
                    <a:lnTo>
                      <a:pt x="1895" y="3497"/>
                    </a:lnTo>
                    <a:lnTo>
                      <a:pt x="1862" y="3452"/>
                    </a:lnTo>
                    <a:lnTo>
                      <a:pt x="1831" y="3409"/>
                    </a:lnTo>
                    <a:lnTo>
                      <a:pt x="1802" y="3364"/>
                    </a:lnTo>
                    <a:lnTo>
                      <a:pt x="1775" y="3320"/>
                    </a:lnTo>
                    <a:lnTo>
                      <a:pt x="1745" y="3274"/>
                    </a:lnTo>
                    <a:lnTo>
                      <a:pt x="1718" y="3229"/>
                    </a:lnTo>
                    <a:lnTo>
                      <a:pt x="1689" y="3184"/>
                    </a:lnTo>
                    <a:lnTo>
                      <a:pt x="1659" y="3139"/>
                    </a:lnTo>
                    <a:lnTo>
                      <a:pt x="1650" y="3116"/>
                    </a:lnTo>
                    <a:lnTo>
                      <a:pt x="1639" y="3095"/>
                    </a:lnTo>
                    <a:lnTo>
                      <a:pt x="1627" y="3073"/>
                    </a:lnTo>
                    <a:lnTo>
                      <a:pt x="1615" y="3052"/>
                    </a:lnTo>
                    <a:lnTo>
                      <a:pt x="1602" y="3031"/>
                    </a:lnTo>
                    <a:lnTo>
                      <a:pt x="1589" y="3009"/>
                    </a:lnTo>
                    <a:lnTo>
                      <a:pt x="1578" y="2987"/>
                    </a:lnTo>
                    <a:lnTo>
                      <a:pt x="1570" y="2965"/>
                    </a:lnTo>
                    <a:lnTo>
                      <a:pt x="1533" y="2916"/>
                    </a:lnTo>
                    <a:lnTo>
                      <a:pt x="1497" y="2869"/>
                    </a:lnTo>
                    <a:lnTo>
                      <a:pt x="1462" y="2820"/>
                    </a:lnTo>
                    <a:lnTo>
                      <a:pt x="1428" y="2772"/>
                    </a:lnTo>
                    <a:lnTo>
                      <a:pt x="1393" y="2722"/>
                    </a:lnTo>
                    <a:lnTo>
                      <a:pt x="1362" y="2673"/>
                    </a:lnTo>
                    <a:lnTo>
                      <a:pt x="1331" y="2623"/>
                    </a:lnTo>
                    <a:lnTo>
                      <a:pt x="1303" y="2572"/>
                    </a:lnTo>
                    <a:lnTo>
                      <a:pt x="1264" y="2509"/>
                    </a:lnTo>
                    <a:lnTo>
                      <a:pt x="1228" y="2447"/>
                    </a:lnTo>
                    <a:lnTo>
                      <a:pt x="1193" y="2383"/>
                    </a:lnTo>
                    <a:lnTo>
                      <a:pt x="1160" y="2320"/>
                    </a:lnTo>
                    <a:lnTo>
                      <a:pt x="1126" y="2255"/>
                    </a:lnTo>
                    <a:lnTo>
                      <a:pt x="1092" y="2192"/>
                    </a:lnTo>
                    <a:lnTo>
                      <a:pt x="1056" y="2129"/>
                    </a:lnTo>
                    <a:lnTo>
                      <a:pt x="1020" y="2067"/>
                    </a:lnTo>
                    <a:lnTo>
                      <a:pt x="988" y="2010"/>
                    </a:lnTo>
                    <a:lnTo>
                      <a:pt x="957" y="1953"/>
                    </a:lnTo>
                    <a:lnTo>
                      <a:pt x="928" y="1896"/>
                    </a:lnTo>
                    <a:lnTo>
                      <a:pt x="899" y="1838"/>
                    </a:lnTo>
                    <a:lnTo>
                      <a:pt x="871" y="1779"/>
                    </a:lnTo>
                    <a:lnTo>
                      <a:pt x="844" y="1721"/>
                    </a:lnTo>
                    <a:lnTo>
                      <a:pt x="816" y="1662"/>
                    </a:lnTo>
                    <a:lnTo>
                      <a:pt x="789" y="1605"/>
                    </a:lnTo>
                    <a:lnTo>
                      <a:pt x="772" y="1592"/>
                    </a:lnTo>
                    <a:lnTo>
                      <a:pt x="749" y="1564"/>
                    </a:lnTo>
                    <a:lnTo>
                      <a:pt x="723" y="1524"/>
                    </a:lnTo>
                    <a:lnTo>
                      <a:pt x="695" y="1476"/>
                    </a:lnTo>
                    <a:lnTo>
                      <a:pt x="664" y="1424"/>
                    </a:lnTo>
                    <a:lnTo>
                      <a:pt x="635" y="1372"/>
                    </a:lnTo>
                    <a:lnTo>
                      <a:pt x="610" y="1323"/>
                    </a:lnTo>
                    <a:lnTo>
                      <a:pt x="590" y="1282"/>
                    </a:lnTo>
                    <a:lnTo>
                      <a:pt x="574" y="1265"/>
                    </a:lnTo>
                    <a:lnTo>
                      <a:pt x="562" y="1250"/>
                    </a:lnTo>
                    <a:lnTo>
                      <a:pt x="550" y="1233"/>
                    </a:lnTo>
                    <a:lnTo>
                      <a:pt x="541" y="1219"/>
                    </a:lnTo>
                    <a:lnTo>
                      <a:pt x="531" y="1203"/>
                    </a:lnTo>
                    <a:lnTo>
                      <a:pt x="523" y="1188"/>
                    </a:lnTo>
                    <a:lnTo>
                      <a:pt x="516" y="1169"/>
                    </a:lnTo>
                    <a:lnTo>
                      <a:pt x="510" y="1150"/>
                    </a:lnTo>
                    <a:lnTo>
                      <a:pt x="485" y="1094"/>
                    </a:lnTo>
                    <a:lnTo>
                      <a:pt x="460" y="1040"/>
                    </a:lnTo>
                    <a:lnTo>
                      <a:pt x="433" y="983"/>
                    </a:lnTo>
                    <a:lnTo>
                      <a:pt x="407" y="928"/>
                    </a:lnTo>
                    <a:lnTo>
                      <a:pt x="379" y="870"/>
                    </a:lnTo>
                    <a:lnTo>
                      <a:pt x="353" y="815"/>
                    </a:lnTo>
                    <a:lnTo>
                      <a:pt x="326" y="760"/>
                    </a:lnTo>
                    <a:lnTo>
                      <a:pt x="305" y="706"/>
                    </a:lnTo>
                    <a:lnTo>
                      <a:pt x="274" y="659"/>
                    </a:lnTo>
                    <a:lnTo>
                      <a:pt x="246" y="614"/>
                    </a:lnTo>
                    <a:lnTo>
                      <a:pt x="217" y="567"/>
                    </a:lnTo>
                    <a:lnTo>
                      <a:pt x="192" y="520"/>
                    </a:lnTo>
                    <a:lnTo>
                      <a:pt x="167" y="471"/>
                    </a:lnTo>
                    <a:lnTo>
                      <a:pt x="145" y="422"/>
                    </a:lnTo>
                    <a:lnTo>
                      <a:pt x="125" y="372"/>
                    </a:lnTo>
                    <a:lnTo>
                      <a:pt x="111" y="321"/>
                    </a:lnTo>
                    <a:lnTo>
                      <a:pt x="104" y="303"/>
                    </a:lnTo>
                    <a:lnTo>
                      <a:pt x="97" y="286"/>
                    </a:lnTo>
                    <a:lnTo>
                      <a:pt x="92" y="267"/>
                    </a:lnTo>
                    <a:lnTo>
                      <a:pt x="87" y="250"/>
                    </a:lnTo>
                    <a:lnTo>
                      <a:pt x="83" y="230"/>
                    </a:lnTo>
                    <a:lnTo>
                      <a:pt x="79" y="213"/>
                    </a:lnTo>
                    <a:lnTo>
                      <a:pt x="74" y="194"/>
                    </a:lnTo>
                    <a:lnTo>
                      <a:pt x="70" y="177"/>
                    </a:lnTo>
                    <a:lnTo>
                      <a:pt x="60" y="155"/>
                    </a:lnTo>
                    <a:lnTo>
                      <a:pt x="51" y="135"/>
                    </a:lnTo>
                    <a:lnTo>
                      <a:pt x="42" y="116"/>
                    </a:lnTo>
                    <a:lnTo>
                      <a:pt x="32" y="96"/>
                    </a:lnTo>
                    <a:lnTo>
                      <a:pt x="22" y="76"/>
                    </a:lnTo>
                    <a:lnTo>
                      <a:pt x="14" y="55"/>
                    </a:lnTo>
                    <a:lnTo>
                      <a:pt x="8" y="34"/>
                    </a:lnTo>
                    <a:lnTo>
                      <a:pt x="6" y="13"/>
                    </a:lnTo>
                    <a:lnTo>
                      <a:pt x="1" y="6"/>
                    </a:lnTo>
                    <a:lnTo>
                      <a:pt x="0" y="0"/>
                    </a:lnTo>
                    <a:lnTo>
                      <a:pt x="15" y="28"/>
                    </a:lnTo>
                    <a:lnTo>
                      <a:pt x="32" y="57"/>
                    </a:lnTo>
                    <a:lnTo>
                      <a:pt x="47" y="88"/>
                    </a:lnTo>
                    <a:lnTo>
                      <a:pt x="62" y="119"/>
                    </a:lnTo>
                    <a:lnTo>
                      <a:pt x="76" y="150"/>
                    </a:lnTo>
                    <a:lnTo>
                      <a:pt x="92" y="180"/>
                    </a:lnTo>
                    <a:lnTo>
                      <a:pt x="108" y="211"/>
                    </a:lnTo>
                    <a:lnTo>
                      <a:pt x="125" y="242"/>
                    </a:lnTo>
                    <a:close/>
                  </a:path>
                </a:pathLst>
              </a:custGeom>
              <a:solidFill>
                <a:srgbClr val="D31A00"/>
              </a:solidFill>
              <a:ln w="9525">
                <a:noFill/>
                <a:round/>
                <a:headEnd/>
                <a:tailEnd/>
              </a:ln>
            </p:spPr>
            <p:txBody>
              <a:bodyPr/>
              <a:lstStyle/>
              <a:p>
                <a:pPr>
                  <a:defRPr/>
                </a:pPr>
                <a:endParaRPr lang="en-US" dirty="0">
                  <a:cs typeface="+mn-cs"/>
                </a:endParaRPr>
              </a:p>
            </p:txBody>
          </p:sp>
          <p:sp>
            <p:nvSpPr>
              <p:cNvPr id="56" name="Freeform 1102"/>
              <p:cNvSpPr>
                <a:spLocks/>
              </p:cNvSpPr>
              <p:nvPr/>
            </p:nvSpPr>
            <p:spPr bwMode="auto">
              <a:xfrm>
                <a:off x="4139" y="2299"/>
                <a:ext cx="640" cy="1242"/>
              </a:xfrm>
              <a:custGeom>
                <a:avLst/>
                <a:gdLst>
                  <a:gd name="T0" fmla="*/ 0 w 2561"/>
                  <a:gd name="T1" fmla="*/ 0 h 4966"/>
                  <a:gd name="T2" fmla="*/ 0 w 2561"/>
                  <a:gd name="T3" fmla="*/ 0 h 4966"/>
                  <a:gd name="T4" fmla="*/ 0 w 2561"/>
                  <a:gd name="T5" fmla="*/ 0 h 4966"/>
                  <a:gd name="T6" fmla="*/ 0 w 2561"/>
                  <a:gd name="T7" fmla="*/ 0 h 4966"/>
                  <a:gd name="T8" fmla="*/ 0 w 2561"/>
                  <a:gd name="T9" fmla="*/ 0 h 4966"/>
                  <a:gd name="T10" fmla="*/ 0 w 2561"/>
                  <a:gd name="T11" fmla="*/ 0 h 4966"/>
                  <a:gd name="T12" fmla="*/ 0 w 2561"/>
                  <a:gd name="T13" fmla="*/ 0 h 4966"/>
                  <a:gd name="T14" fmla="*/ 0 w 2561"/>
                  <a:gd name="T15" fmla="*/ 0 h 4966"/>
                  <a:gd name="T16" fmla="*/ 0 w 2561"/>
                  <a:gd name="T17" fmla="*/ 0 h 4966"/>
                  <a:gd name="T18" fmla="*/ 0 w 2561"/>
                  <a:gd name="T19" fmla="*/ 0 h 4966"/>
                  <a:gd name="T20" fmla="*/ 0 w 2561"/>
                  <a:gd name="T21" fmla="*/ 0 h 4966"/>
                  <a:gd name="T22" fmla="*/ 0 w 2561"/>
                  <a:gd name="T23" fmla="*/ 0 h 4966"/>
                  <a:gd name="T24" fmla="*/ 0 w 2561"/>
                  <a:gd name="T25" fmla="*/ 0 h 4966"/>
                  <a:gd name="T26" fmla="*/ 0 w 2561"/>
                  <a:gd name="T27" fmla="*/ 0 h 4966"/>
                  <a:gd name="T28" fmla="*/ 0 w 2561"/>
                  <a:gd name="T29" fmla="*/ 0 h 4966"/>
                  <a:gd name="T30" fmla="*/ 0 w 2561"/>
                  <a:gd name="T31" fmla="*/ 0 h 4966"/>
                  <a:gd name="T32" fmla="*/ 0 w 2561"/>
                  <a:gd name="T33" fmla="*/ 0 h 4966"/>
                  <a:gd name="T34" fmla="*/ 0 w 2561"/>
                  <a:gd name="T35" fmla="*/ 0 h 4966"/>
                  <a:gd name="T36" fmla="*/ 0 w 2561"/>
                  <a:gd name="T37" fmla="*/ 0 h 4966"/>
                  <a:gd name="T38" fmla="*/ 0 w 2561"/>
                  <a:gd name="T39" fmla="*/ 0 h 4966"/>
                  <a:gd name="T40" fmla="*/ 0 w 2561"/>
                  <a:gd name="T41" fmla="*/ 0 h 4966"/>
                  <a:gd name="T42" fmla="*/ 0 w 2561"/>
                  <a:gd name="T43" fmla="*/ 0 h 4966"/>
                  <a:gd name="T44" fmla="*/ 0 w 2561"/>
                  <a:gd name="T45" fmla="*/ 0 h 4966"/>
                  <a:gd name="T46" fmla="*/ 0 w 2561"/>
                  <a:gd name="T47" fmla="*/ 0 h 4966"/>
                  <a:gd name="T48" fmla="*/ 0 w 2561"/>
                  <a:gd name="T49" fmla="*/ 0 h 4966"/>
                  <a:gd name="T50" fmla="*/ 0 w 2561"/>
                  <a:gd name="T51" fmla="*/ 0 h 4966"/>
                  <a:gd name="T52" fmla="*/ 0 w 2561"/>
                  <a:gd name="T53" fmla="*/ 0 h 4966"/>
                  <a:gd name="T54" fmla="*/ 0 w 2561"/>
                  <a:gd name="T55" fmla="*/ 0 h 4966"/>
                  <a:gd name="T56" fmla="*/ 0 w 2561"/>
                  <a:gd name="T57" fmla="*/ 0 h 4966"/>
                  <a:gd name="T58" fmla="*/ 0 w 2561"/>
                  <a:gd name="T59" fmla="*/ 0 h 4966"/>
                  <a:gd name="T60" fmla="*/ 0 w 2561"/>
                  <a:gd name="T61" fmla="*/ 0 h 4966"/>
                  <a:gd name="T62" fmla="*/ 0 w 2561"/>
                  <a:gd name="T63" fmla="*/ 0 h 4966"/>
                  <a:gd name="T64" fmla="*/ 0 w 2561"/>
                  <a:gd name="T65" fmla="*/ 0 h 4966"/>
                  <a:gd name="T66" fmla="*/ 0 w 2561"/>
                  <a:gd name="T67" fmla="*/ 0 h 4966"/>
                  <a:gd name="T68" fmla="*/ 0 w 2561"/>
                  <a:gd name="T69" fmla="*/ 0 h 4966"/>
                  <a:gd name="T70" fmla="*/ 0 w 2561"/>
                  <a:gd name="T71" fmla="*/ 0 h 4966"/>
                  <a:gd name="T72" fmla="*/ 0 w 2561"/>
                  <a:gd name="T73" fmla="*/ 0 h 4966"/>
                  <a:gd name="T74" fmla="*/ 0 w 2561"/>
                  <a:gd name="T75" fmla="*/ 0 h 4966"/>
                  <a:gd name="T76" fmla="*/ 0 w 2561"/>
                  <a:gd name="T77" fmla="*/ 0 h 4966"/>
                  <a:gd name="T78" fmla="*/ 0 w 2561"/>
                  <a:gd name="T79" fmla="*/ 0 h 4966"/>
                  <a:gd name="T80" fmla="*/ 0 w 2561"/>
                  <a:gd name="T81" fmla="*/ 0 h 4966"/>
                  <a:gd name="T82" fmla="*/ 0 w 2561"/>
                  <a:gd name="T83" fmla="*/ 0 h 4966"/>
                  <a:gd name="T84" fmla="*/ 0 w 2561"/>
                  <a:gd name="T85" fmla="*/ 0 h 4966"/>
                  <a:gd name="T86" fmla="*/ 0 w 2561"/>
                  <a:gd name="T87" fmla="*/ 0 h 4966"/>
                  <a:gd name="T88" fmla="*/ 0 w 2561"/>
                  <a:gd name="T89" fmla="*/ 0 h 4966"/>
                  <a:gd name="T90" fmla="*/ 0 w 2561"/>
                  <a:gd name="T91" fmla="*/ 0 h 4966"/>
                  <a:gd name="T92" fmla="*/ 0 w 2561"/>
                  <a:gd name="T93" fmla="*/ 0 h 4966"/>
                  <a:gd name="T94" fmla="*/ 0 w 2561"/>
                  <a:gd name="T95" fmla="*/ 0 h 4966"/>
                  <a:gd name="T96" fmla="*/ 0 w 2561"/>
                  <a:gd name="T97" fmla="*/ 0 h 4966"/>
                  <a:gd name="T98" fmla="*/ 0 w 2561"/>
                  <a:gd name="T99" fmla="*/ 0 h 4966"/>
                  <a:gd name="T100" fmla="*/ 0 w 2561"/>
                  <a:gd name="T101" fmla="*/ 0 h 4966"/>
                  <a:gd name="T102" fmla="*/ 0 w 2561"/>
                  <a:gd name="T103" fmla="*/ 0 h 4966"/>
                  <a:gd name="T104" fmla="*/ 0 w 2561"/>
                  <a:gd name="T105" fmla="*/ 0 h 4966"/>
                  <a:gd name="T106" fmla="*/ 0 w 2561"/>
                  <a:gd name="T107" fmla="*/ 0 h 4966"/>
                  <a:gd name="T108" fmla="*/ 0 w 2561"/>
                  <a:gd name="T109" fmla="*/ 0 h 4966"/>
                  <a:gd name="T110" fmla="*/ 0 w 2561"/>
                  <a:gd name="T111" fmla="*/ 0 h 4966"/>
                  <a:gd name="T112" fmla="*/ 0 w 2561"/>
                  <a:gd name="T113" fmla="*/ 0 h 49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561"/>
                  <a:gd name="T172" fmla="*/ 0 h 4966"/>
                  <a:gd name="T173" fmla="*/ 2561 w 2561"/>
                  <a:gd name="T174" fmla="*/ 4966 h 49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561" h="4966">
                    <a:moveTo>
                      <a:pt x="113" y="216"/>
                    </a:moveTo>
                    <a:lnTo>
                      <a:pt x="121" y="242"/>
                    </a:lnTo>
                    <a:lnTo>
                      <a:pt x="132" y="268"/>
                    </a:lnTo>
                    <a:lnTo>
                      <a:pt x="145" y="293"/>
                    </a:lnTo>
                    <a:lnTo>
                      <a:pt x="158" y="319"/>
                    </a:lnTo>
                    <a:lnTo>
                      <a:pt x="170" y="343"/>
                    </a:lnTo>
                    <a:lnTo>
                      <a:pt x="182" y="369"/>
                    </a:lnTo>
                    <a:lnTo>
                      <a:pt x="193" y="394"/>
                    </a:lnTo>
                    <a:lnTo>
                      <a:pt x="202" y="423"/>
                    </a:lnTo>
                    <a:lnTo>
                      <a:pt x="245" y="485"/>
                    </a:lnTo>
                    <a:lnTo>
                      <a:pt x="288" y="549"/>
                    </a:lnTo>
                    <a:lnTo>
                      <a:pt x="332" y="614"/>
                    </a:lnTo>
                    <a:lnTo>
                      <a:pt x="375" y="679"/>
                    </a:lnTo>
                    <a:lnTo>
                      <a:pt x="420" y="742"/>
                    </a:lnTo>
                    <a:lnTo>
                      <a:pt x="468" y="804"/>
                    </a:lnTo>
                    <a:lnTo>
                      <a:pt x="519" y="862"/>
                    </a:lnTo>
                    <a:lnTo>
                      <a:pt x="574" y="917"/>
                    </a:lnTo>
                    <a:lnTo>
                      <a:pt x="603" y="949"/>
                    </a:lnTo>
                    <a:lnTo>
                      <a:pt x="629" y="982"/>
                    </a:lnTo>
                    <a:lnTo>
                      <a:pt x="652" y="1017"/>
                    </a:lnTo>
                    <a:lnTo>
                      <a:pt x="675" y="1054"/>
                    </a:lnTo>
                    <a:lnTo>
                      <a:pt x="697" y="1090"/>
                    </a:lnTo>
                    <a:lnTo>
                      <a:pt x="721" y="1127"/>
                    </a:lnTo>
                    <a:lnTo>
                      <a:pt x="744" y="1163"/>
                    </a:lnTo>
                    <a:lnTo>
                      <a:pt x="771" y="1199"/>
                    </a:lnTo>
                    <a:lnTo>
                      <a:pt x="792" y="1250"/>
                    </a:lnTo>
                    <a:lnTo>
                      <a:pt x="816" y="1300"/>
                    </a:lnTo>
                    <a:lnTo>
                      <a:pt x="842" y="1349"/>
                    </a:lnTo>
                    <a:lnTo>
                      <a:pt x="871" y="1398"/>
                    </a:lnTo>
                    <a:lnTo>
                      <a:pt x="901" y="1444"/>
                    </a:lnTo>
                    <a:lnTo>
                      <a:pt x="934" y="1491"/>
                    </a:lnTo>
                    <a:lnTo>
                      <a:pt x="968" y="1537"/>
                    </a:lnTo>
                    <a:lnTo>
                      <a:pt x="1005" y="1584"/>
                    </a:lnTo>
                    <a:lnTo>
                      <a:pt x="1046" y="1647"/>
                    </a:lnTo>
                    <a:lnTo>
                      <a:pt x="1094" y="1710"/>
                    </a:lnTo>
                    <a:lnTo>
                      <a:pt x="1143" y="1770"/>
                    </a:lnTo>
                    <a:lnTo>
                      <a:pt x="1196" y="1830"/>
                    </a:lnTo>
                    <a:lnTo>
                      <a:pt x="1248" y="1890"/>
                    </a:lnTo>
                    <a:lnTo>
                      <a:pt x="1302" y="1950"/>
                    </a:lnTo>
                    <a:lnTo>
                      <a:pt x="1354" y="2011"/>
                    </a:lnTo>
                    <a:lnTo>
                      <a:pt x="1405" y="2074"/>
                    </a:lnTo>
                    <a:lnTo>
                      <a:pt x="1417" y="2080"/>
                    </a:lnTo>
                    <a:lnTo>
                      <a:pt x="1430" y="2091"/>
                    </a:lnTo>
                    <a:lnTo>
                      <a:pt x="1441" y="2102"/>
                    </a:lnTo>
                    <a:lnTo>
                      <a:pt x="1453" y="2115"/>
                    </a:lnTo>
                    <a:lnTo>
                      <a:pt x="1463" y="2128"/>
                    </a:lnTo>
                    <a:lnTo>
                      <a:pt x="1472" y="2141"/>
                    </a:lnTo>
                    <a:lnTo>
                      <a:pt x="1482" y="2154"/>
                    </a:lnTo>
                    <a:lnTo>
                      <a:pt x="1493" y="2169"/>
                    </a:lnTo>
                    <a:lnTo>
                      <a:pt x="1513" y="2198"/>
                    </a:lnTo>
                    <a:lnTo>
                      <a:pt x="1533" y="2229"/>
                    </a:lnTo>
                    <a:lnTo>
                      <a:pt x="1553" y="2260"/>
                    </a:lnTo>
                    <a:lnTo>
                      <a:pt x="1574" y="2291"/>
                    </a:lnTo>
                    <a:lnTo>
                      <a:pt x="1593" y="2321"/>
                    </a:lnTo>
                    <a:lnTo>
                      <a:pt x="1615" y="2351"/>
                    </a:lnTo>
                    <a:lnTo>
                      <a:pt x="1636" y="2379"/>
                    </a:lnTo>
                    <a:lnTo>
                      <a:pt x="1657" y="2409"/>
                    </a:lnTo>
                    <a:lnTo>
                      <a:pt x="1669" y="2408"/>
                    </a:lnTo>
                    <a:lnTo>
                      <a:pt x="1679" y="2410"/>
                    </a:lnTo>
                    <a:lnTo>
                      <a:pt x="1686" y="2415"/>
                    </a:lnTo>
                    <a:lnTo>
                      <a:pt x="1692" y="2425"/>
                    </a:lnTo>
                    <a:lnTo>
                      <a:pt x="1696" y="2434"/>
                    </a:lnTo>
                    <a:lnTo>
                      <a:pt x="1702" y="2444"/>
                    </a:lnTo>
                    <a:lnTo>
                      <a:pt x="1706" y="2452"/>
                    </a:lnTo>
                    <a:lnTo>
                      <a:pt x="1713" y="2461"/>
                    </a:lnTo>
                    <a:lnTo>
                      <a:pt x="1714" y="2481"/>
                    </a:lnTo>
                    <a:lnTo>
                      <a:pt x="1717" y="2501"/>
                    </a:lnTo>
                    <a:lnTo>
                      <a:pt x="1720" y="2521"/>
                    </a:lnTo>
                    <a:lnTo>
                      <a:pt x="1725" y="2540"/>
                    </a:lnTo>
                    <a:lnTo>
                      <a:pt x="1729" y="2558"/>
                    </a:lnTo>
                    <a:lnTo>
                      <a:pt x="1736" y="2575"/>
                    </a:lnTo>
                    <a:lnTo>
                      <a:pt x="1744" y="2591"/>
                    </a:lnTo>
                    <a:lnTo>
                      <a:pt x="1756" y="2608"/>
                    </a:lnTo>
                    <a:lnTo>
                      <a:pt x="1762" y="2619"/>
                    </a:lnTo>
                    <a:lnTo>
                      <a:pt x="1769" y="2629"/>
                    </a:lnTo>
                    <a:lnTo>
                      <a:pt x="1777" y="2640"/>
                    </a:lnTo>
                    <a:lnTo>
                      <a:pt x="1787" y="2651"/>
                    </a:lnTo>
                    <a:lnTo>
                      <a:pt x="1795" y="2662"/>
                    </a:lnTo>
                    <a:lnTo>
                      <a:pt x="1805" y="2673"/>
                    </a:lnTo>
                    <a:lnTo>
                      <a:pt x="1813" y="2684"/>
                    </a:lnTo>
                    <a:lnTo>
                      <a:pt x="1820" y="2697"/>
                    </a:lnTo>
                    <a:lnTo>
                      <a:pt x="1865" y="2782"/>
                    </a:lnTo>
                    <a:lnTo>
                      <a:pt x="1908" y="2869"/>
                    </a:lnTo>
                    <a:lnTo>
                      <a:pt x="1951" y="2956"/>
                    </a:lnTo>
                    <a:lnTo>
                      <a:pt x="1991" y="3045"/>
                    </a:lnTo>
                    <a:lnTo>
                      <a:pt x="2027" y="3133"/>
                    </a:lnTo>
                    <a:lnTo>
                      <a:pt x="2061" y="3225"/>
                    </a:lnTo>
                    <a:lnTo>
                      <a:pt x="2089" y="3317"/>
                    </a:lnTo>
                    <a:lnTo>
                      <a:pt x="2114" y="3412"/>
                    </a:lnTo>
                    <a:lnTo>
                      <a:pt x="2154" y="3534"/>
                    </a:lnTo>
                    <a:lnTo>
                      <a:pt x="2189" y="3660"/>
                    </a:lnTo>
                    <a:lnTo>
                      <a:pt x="2219" y="3786"/>
                    </a:lnTo>
                    <a:lnTo>
                      <a:pt x="2248" y="3916"/>
                    </a:lnTo>
                    <a:lnTo>
                      <a:pt x="2274" y="4043"/>
                    </a:lnTo>
                    <a:lnTo>
                      <a:pt x="2304" y="4171"/>
                    </a:lnTo>
                    <a:lnTo>
                      <a:pt x="2339" y="4296"/>
                    </a:lnTo>
                    <a:lnTo>
                      <a:pt x="2381" y="4420"/>
                    </a:lnTo>
                    <a:lnTo>
                      <a:pt x="2393" y="4462"/>
                    </a:lnTo>
                    <a:lnTo>
                      <a:pt x="2406" y="4506"/>
                    </a:lnTo>
                    <a:lnTo>
                      <a:pt x="2421" y="4548"/>
                    </a:lnTo>
                    <a:lnTo>
                      <a:pt x="2436" y="4593"/>
                    </a:lnTo>
                    <a:lnTo>
                      <a:pt x="2449" y="4635"/>
                    </a:lnTo>
                    <a:lnTo>
                      <a:pt x="2463" y="4680"/>
                    </a:lnTo>
                    <a:lnTo>
                      <a:pt x="2475" y="4725"/>
                    </a:lnTo>
                    <a:lnTo>
                      <a:pt x="2485" y="4771"/>
                    </a:lnTo>
                    <a:lnTo>
                      <a:pt x="2561" y="4966"/>
                    </a:lnTo>
                    <a:lnTo>
                      <a:pt x="2533" y="4917"/>
                    </a:lnTo>
                    <a:lnTo>
                      <a:pt x="2504" y="4870"/>
                    </a:lnTo>
                    <a:lnTo>
                      <a:pt x="2475" y="4822"/>
                    </a:lnTo>
                    <a:lnTo>
                      <a:pt x="2446" y="4775"/>
                    </a:lnTo>
                    <a:lnTo>
                      <a:pt x="2417" y="4727"/>
                    </a:lnTo>
                    <a:lnTo>
                      <a:pt x="2392" y="4679"/>
                    </a:lnTo>
                    <a:lnTo>
                      <a:pt x="2369" y="4628"/>
                    </a:lnTo>
                    <a:lnTo>
                      <a:pt x="2352" y="4576"/>
                    </a:lnTo>
                    <a:lnTo>
                      <a:pt x="2315" y="4484"/>
                    </a:lnTo>
                    <a:lnTo>
                      <a:pt x="2284" y="4393"/>
                    </a:lnTo>
                    <a:lnTo>
                      <a:pt x="2254" y="4300"/>
                    </a:lnTo>
                    <a:lnTo>
                      <a:pt x="2226" y="4209"/>
                    </a:lnTo>
                    <a:lnTo>
                      <a:pt x="2195" y="4118"/>
                    </a:lnTo>
                    <a:lnTo>
                      <a:pt x="2164" y="4027"/>
                    </a:lnTo>
                    <a:lnTo>
                      <a:pt x="2126" y="3937"/>
                    </a:lnTo>
                    <a:lnTo>
                      <a:pt x="2082" y="3850"/>
                    </a:lnTo>
                    <a:lnTo>
                      <a:pt x="2063" y="3800"/>
                    </a:lnTo>
                    <a:lnTo>
                      <a:pt x="2043" y="3751"/>
                    </a:lnTo>
                    <a:lnTo>
                      <a:pt x="2024" y="3702"/>
                    </a:lnTo>
                    <a:lnTo>
                      <a:pt x="2004" y="3655"/>
                    </a:lnTo>
                    <a:lnTo>
                      <a:pt x="1981" y="3606"/>
                    </a:lnTo>
                    <a:lnTo>
                      <a:pt x="1958" y="3559"/>
                    </a:lnTo>
                    <a:lnTo>
                      <a:pt x="1932" y="3512"/>
                    </a:lnTo>
                    <a:lnTo>
                      <a:pt x="1904" y="3468"/>
                    </a:lnTo>
                    <a:lnTo>
                      <a:pt x="1870" y="3423"/>
                    </a:lnTo>
                    <a:lnTo>
                      <a:pt x="1840" y="3380"/>
                    </a:lnTo>
                    <a:lnTo>
                      <a:pt x="1811" y="3335"/>
                    </a:lnTo>
                    <a:lnTo>
                      <a:pt x="1782" y="3290"/>
                    </a:lnTo>
                    <a:lnTo>
                      <a:pt x="1753" y="3245"/>
                    </a:lnTo>
                    <a:lnTo>
                      <a:pt x="1726" y="3200"/>
                    </a:lnTo>
                    <a:lnTo>
                      <a:pt x="1696" y="3155"/>
                    </a:lnTo>
                    <a:lnTo>
                      <a:pt x="1667" y="3110"/>
                    </a:lnTo>
                    <a:lnTo>
                      <a:pt x="1657" y="3087"/>
                    </a:lnTo>
                    <a:lnTo>
                      <a:pt x="1646" y="3065"/>
                    </a:lnTo>
                    <a:lnTo>
                      <a:pt x="1634" y="3044"/>
                    </a:lnTo>
                    <a:lnTo>
                      <a:pt x="1622" y="3023"/>
                    </a:lnTo>
                    <a:lnTo>
                      <a:pt x="1609" y="3001"/>
                    </a:lnTo>
                    <a:lnTo>
                      <a:pt x="1596" y="2979"/>
                    </a:lnTo>
                    <a:lnTo>
                      <a:pt x="1586" y="2958"/>
                    </a:lnTo>
                    <a:lnTo>
                      <a:pt x="1578" y="2936"/>
                    </a:lnTo>
                    <a:lnTo>
                      <a:pt x="1541" y="2887"/>
                    </a:lnTo>
                    <a:lnTo>
                      <a:pt x="1505" y="2839"/>
                    </a:lnTo>
                    <a:lnTo>
                      <a:pt x="1469" y="2790"/>
                    </a:lnTo>
                    <a:lnTo>
                      <a:pt x="1435" y="2743"/>
                    </a:lnTo>
                    <a:lnTo>
                      <a:pt x="1401" y="2692"/>
                    </a:lnTo>
                    <a:lnTo>
                      <a:pt x="1369" y="2644"/>
                    </a:lnTo>
                    <a:lnTo>
                      <a:pt x="1339" y="2594"/>
                    </a:lnTo>
                    <a:lnTo>
                      <a:pt x="1310" y="2542"/>
                    </a:lnTo>
                    <a:lnTo>
                      <a:pt x="1271" y="2479"/>
                    </a:lnTo>
                    <a:lnTo>
                      <a:pt x="1235" y="2417"/>
                    </a:lnTo>
                    <a:lnTo>
                      <a:pt x="1201" y="2353"/>
                    </a:lnTo>
                    <a:lnTo>
                      <a:pt x="1168" y="2290"/>
                    </a:lnTo>
                    <a:lnTo>
                      <a:pt x="1133" y="2226"/>
                    </a:lnTo>
                    <a:lnTo>
                      <a:pt x="1099" y="2163"/>
                    </a:lnTo>
                    <a:lnTo>
                      <a:pt x="1064" y="2100"/>
                    </a:lnTo>
                    <a:lnTo>
                      <a:pt x="1028" y="2038"/>
                    </a:lnTo>
                    <a:lnTo>
                      <a:pt x="995" y="1980"/>
                    </a:lnTo>
                    <a:lnTo>
                      <a:pt x="965" y="1924"/>
                    </a:lnTo>
                    <a:lnTo>
                      <a:pt x="935" y="1866"/>
                    </a:lnTo>
                    <a:lnTo>
                      <a:pt x="907" y="1809"/>
                    </a:lnTo>
                    <a:lnTo>
                      <a:pt x="879" y="1750"/>
                    </a:lnTo>
                    <a:lnTo>
                      <a:pt x="852" y="1691"/>
                    </a:lnTo>
                    <a:lnTo>
                      <a:pt x="823" y="1633"/>
                    </a:lnTo>
                    <a:lnTo>
                      <a:pt x="796" y="1576"/>
                    </a:lnTo>
                    <a:lnTo>
                      <a:pt x="778" y="1560"/>
                    </a:lnTo>
                    <a:lnTo>
                      <a:pt x="752" y="1525"/>
                    </a:lnTo>
                    <a:lnTo>
                      <a:pt x="718" y="1474"/>
                    </a:lnTo>
                    <a:lnTo>
                      <a:pt x="681" y="1413"/>
                    </a:lnTo>
                    <a:lnTo>
                      <a:pt x="642" y="1346"/>
                    </a:lnTo>
                    <a:lnTo>
                      <a:pt x="605" y="1279"/>
                    </a:lnTo>
                    <a:lnTo>
                      <a:pt x="572" y="1217"/>
                    </a:lnTo>
                    <a:lnTo>
                      <a:pt x="547" y="1166"/>
                    </a:lnTo>
                    <a:lnTo>
                      <a:pt x="528" y="1143"/>
                    </a:lnTo>
                    <a:lnTo>
                      <a:pt x="510" y="1124"/>
                    </a:lnTo>
                    <a:lnTo>
                      <a:pt x="494" y="1104"/>
                    </a:lnTo>
                    <a:lnTo>
                      <a:pt x="481" y="1086"/>
                    </a:lnTo>
                    <a:lnTo>
                      <a:pt x="468" y="1065"/>
                    </a:lnTo>
                    <a:lnTo>
                      <a:pt x="457" y="1044"/>
                    </a:lnTo>
                    <a:lnTo>
                      <a:pt x="446" y="1021"/>
                    </a:lnTo>
                    <a:lnTo>
                      <a:pt x="438" y="995"/>
                    </a:lnTo>
                    <a:lnTo>
                      <a:pt x="418" y="947"/>
                    </a:lnTo>
                    <a:lnTo>
                      <a:pt x="395" y="897"/>
                    </a:lnTo>
                    <a:lnTo>
                      <a:pt x="370" y="845"/>
                    </a:lnTo>
                    <a:lnTo>
                      <a:pt x="346" y="795"/>
                    </a:lnTo>
                    <a:lnTo>
                      <a:pt x="320" y="743"/>
                    </a:lnTo>
                    <a:lnTo>
                      <a:pt x="297" y="693"/>
                    </a:lnTo>
                    <a:lnTo>
                      <a:pt x="274" y="643"/>
                    </a:lnTo>
                    <a:lnTo>
                      <a:pt x="255" y="595"/>
                    </a:lnTo>
                    <a:lnTo>
                      <a:pt x="226" y="548"/>
                    </a:lnTo>
                    <a:lnTo>
                      <a:pt x="198" y="501"/>
                    </a:lnTo>
                    <a:lnTo>
                      <a:pt x="170" y="453"/>
                    </a:lnTo>
                    <a:lnTo>
                      <a:pt x="145" y="406"/>
                    </a:lnTo>
                    <a:lnTo>
                      <a:pt x="120" y="356"/>
                    </a:lnTo>
                    <a:lnTo>
                      <a:pt x="98" y="306"/>
                    </a:lnTo>
                    <a:lnTo>
                      <a:pt x="80" y="255"/>
                    </a:lnTo>
                    <a:lnTo>
                      <a:pt x="65" y="204"/>
                    </a:lnTo>
                    <a:lnTo>
                      <a:pt x="58" y="189"/>
                    </a:lnTo>
                    <a:lnTo>
                      <a:pt x="52" y="175"/>
                    </a:lnTo>
                    <a:lnTo>
                      <a:pt x="48" y="160"/>
                    </a:lnTo>
                    <a:lnTo>
                      <a:pt x="45" y="145"/>
                    </a:lnTo>
                    <a:lnTo>
                      <a:pt x="40" y="130"/>
                    </a:lnTo>
                    <a:lnTo>
                      <a:pt x="37" y="116"/>
                    </a:lnTo>
                    <a:lnTo>
                      <a:pt x="34" y="101"/>
                    </a:lnTo>
                    <a:lnTo>
                      <a:pt x="31" y="87"/>
                    </a:lnTo>
                    <a:lnTo>
                      <a:pt x="26" y="76"/>
                    </a:lnTo>
                    <a:lnTo>
                      <a:pt x="23" y="66"/>
                    </a:lnTo>
                    <a:lnTo>
                      <a:pt x="18" y="56"/>
                    </a:lnTo>
                    <a:lnTo>
                      <a:pt x="13" y="46"/>
                    </a:lnTo>
                    <a:lnTo>
                      <a:pt x="8" y="37"/>
                    </a:lnTo>
                    <a:lnTo>
                      <a:pt x="5" y="27"/>
                    </a:lnTo>
                    <a:lnTo>
                      <a:pt x="2" y="16"/>
                    </a:lnTo>
                    <a:lnTo>
                      <a:pt x="3" y="6"/>
                    </a:lnTo>
                    <a:lnTo>
                      <a:pt x="0" y="3"/>
                    </a:lnTo>
                    <a:lnTo>
                      <a:pt x="1" y="0"/>
                    </a:lnTo>
                    <a:lnTo>
                      <a:pt x="14" y="25"/>
                    </a:lnTo>
                    <a:lnTo>
                      <a:pt x="28" y="52"/>
                    </a:lnTo>
                    <a:lnTo>
                      <a:pt x="42" y="78"/>
                    </a:lnTo>
                    <a:lnTo>
                      <a:pt x="56" y="106"/>
                    </a:lnTo>
                    <a:lnTo>
                      <a:pt x="69" y="133"/>
                    </a:lnTo>
                    <a:lnTo>
                      <a:pt x="83" y="161"/>
                    </a:lnTo>
                    <a:lnTo>
                      <a:pt x="97" y="188"/>
                    </a:lnTo>
                    <a:lnTo>
                      <a:pt x="113" y="216"/>
                    </a:lnTo>
                    <a:close/>
                  </a:path>
                </a:pathLst>
              </a:custGeom>
              <a:solidFill>
                <a:srgbClr val="DE1A00"/>
              </a:solidFill>
              <a:ln w="9525">
                <a:noFill/>
                <a:round/>
                <a:headEnd/>
                <a:tailEnd/>
              </a:ln>
            </p:spPr>
            <p:txBody>
              <a:bodyPr/>
              <a:lstStyle/>
              <a:p>
                <a:pPr>
                  <a:defRPr/>
                </a:pPr>
                <a:endParaRPr lang="en-US" dirty="0">
                  <a:cs typeface="+mn-cs"/>
                </a:endParaRPr>
              </a:p>
            </p:txBody>
          </p:sp>
          <p:sp>
            <p:nvSpPr>
              <p:cNvPr id="57" name="Freeform 1103"/>
              <p:cNvSpPr>
                <a:spLocks/>
              </p:cNvSpPr>
              <p:nvPr/>
            </p:nvSpPr>
            <p:spPr bwMode="auto">
              <a:xfrm>
                <a:off x="4140" y="2305"/>
                <a:ext cx="639" cy="1236"/>
              </a:xfrm>
              <a:custGeom>
                <a:avLst/>
                <a:gdLst>
                  <a:gd name="T0" fmla="*/ 0 w 2558"/>
                  <a:gd name="T1" fmla="*/ 0 h 4943"/>
                  <a:gd name="T2" fmla="*/ 0 w 2558"/>
                  <a:gd name="T3" fmla="*/ 0 h 4943"/>
                  <a:gd name="T4" fmla="*/ 0 w 2558"/>
                  <a:gd name="T5" fmla="*/ 0 h 4943"/>
                  <a:gd name="T6" fmla="*/ 0 w 2558"/>
                  <a:gd name="T7" fmla="*/ 0 h 4943"/>
                  <a:gd name="T8" fmla="*/ 0 w 2558"/>
                  <a:gd name="T9" fmla="*/ 0 h 4943"/>
                  <a:gd name="T10" fmla="*/ 0 w 2558"/>
                  <a:gd name="T11" fmla="*/ 0 h 4943"/>
                  <a:gd name="T12" fmla="*/ 0 w 2558"/>
                  <a:gd name="T13" fmla="*/ 0 h 4943"/>
                  <a:gd name="T14" fmla="*/ 0 w 2558"/>
                  <a:gd name="T15" fmla="*/ 0 h 4943"/>
                  <a:gd name="T16" fmla="*/ 0 w 2558"/>
                  <a:gd name="T17" fmla="*/ 0 h 4943"/>
                  <a:gd name="T18" fmla="*/ 0 w 2558"/>
                  <a:gd name="T19" fmla="*/ 0 h 4943"/>
                  <a:gd name="T20" fmla="*/ 0 w 2558"/>
                  <a:gd name="T21" fmla="*/ 0 h 4943"/>
                  <a:gd name="T22" fmla="*/ 0 w 2558"/>
                  <a:gd name="T23" fmla="*/ 0 h 4943"/>
                  <a:gd name="T24" fmla="*/ 0 w 2558"/>
                  <a:gd name="T25" fmla="*/ 0 h 4943"/>
                  <a:gd name="T26" fmla="*/ 0 w 2558"/>
                  <a:gd name="T27" fmla="*/ 0 h 4943"/>
                  <a:gd name="T28" fmla="*/ 0 w 2558"/>
                  <a:gd name="T29" fmla="*/ 0 h 4943"/>
                  <a:gd name="T30" fmla="*/ 0 w 2558"/>
                  <a:gd name="T31" fmla="*/ 0 h 4943"/>
                  <a:gd name="T32" fmla="*/ 0 w 2558"/>
                  <a:gd name="T33" fmla="*/ 0 h 4943"/>
                  <a:gd name="T34" fmla="*/ 0 w 2558"/>
                  <a:gd name="T35" fmla="*/ 0 h 4943"/>
                  <a:gd name="T36" fmla="*/ 0 w 2558"/>
                  <a:gd name="T37" fmla="*/ 0 h 4943"/>
                  <a:gd name="T38" fmla="*/ 0 w 2558"/>
                  <a:gd name="T39" fmla="*/ 0 h 4943"/>
                  <a:gd name="T40" fmla="*/ 0 w 2558"/>
                  <a:gd name="T41" fmla="*/ 0 h 4943"/>
                  <a:gd name="T42" fmla="*/ 0 w 2558"/>
                  <a:gd name="T43" fmla="*/ 0 h 4943"/>
                  <a:gd name="T44" fmla="*/ 0 w 2558"/>
                  <a:gd name="T45" fmla="*/ 0 h 4943"/>
                  <a:gd name="T46" fmla="*/ 0 w 2558"/>
                  <a:gd name="T47" fmla="*/ 0 h 4943"/>
                  <a:gd name="T48" fmla="*/ 0 w 2558"/>
                  <a:gd name="T49" fmla="*/ 0 h 4943"/>
                  <a:gd name="T50" fmla="*/ 0 w 2558"/>
                  <a:gd name="T51" fmla="*/ 0 h 4943"/>
                  <a:gd name="T52" fmla="*/ 0 w 2558"/>
                  <a:gd name="T53" fmla="*/ 0 h 4943"/>
                  <a:gd name="T54" fmla="*/ 0 w 2558"/>
                  <a:gd name="T55" fmla="*/ 0 h 4943"/>
                  <a:gd name="T56" fmla="*/ 0 w 2558"/>
                  <a:gd name="T57" fmla="*/ 0 h 4943"/>
                  <a:gd name="T58" fmla="*/ 0 w 2558"/>
                  <a:gd name="T59" fmla="*/ 0 h 4943"/>
                  <a:gd name="T60" fmla="*/ 0 w 2558"/>
                  <a:gd name="T61" fmla="*/ 0 h 4943"/>
                  <a:gd name="T62" fmla="*/ 0 w 2558"/>
                  <a:gd name="T63" fmla="*/ 0 h 4943"/>
                  <a:gd name="T64" fmla="*/ 0 w 2558"/>
                  <a:gd name="T65" fmla="*/ 0 h 4943"/>
                  <a:gd name="T66" fmla="*/ 0 w 2558"/>
                  <a:gd name="T67" fmla="*/ 0 h 4943"/>
                  <a:gd name="T68" fmla="*/ 0 w 2558"/>
                  <a:gd name="T69" fmla="*/ 0 h 4943"/>
                  <a:gd name="T70" fmla="*/ 0 w 2558"/>
                  <a:gd name="T71" fmla="*/ 0 h 4943"/>
                  <a:gd name="T72" fmla="*/ 0 w 2558"/>
                  <a:gd name="T73" fmla="*/ 0 h 4943"/>
                  <a:gd name="T74" fmla="*/ 0 w 2558"/>
                  <a:gd name="T75" fmla="*/ 0 h 4943"/>
                  <a:gd name="T76" fmla="*/ 0 w 2558"/>
                  <a:gd name="T77" fmla="*/ 0 h 4943"/>
                  <a:gd name="T78" fmla="*/ 0 w 2558"/>
                  <a:gd name="T79" fmla="*/ 0 h 4943"/>
                  <a:gd name="T80" fmla="*/ 0 w 2558"/>
                  <a:gd name="T81" fmla="*/ 0 h 4943"/>
                  <a:gd name="T82" fmla="*/ 0 w 2558"/>
                  <a:gd name="T83" fmla="*/ 0 h 4943"/>
                  <a:gd name="T84" fmla="*/ 0 w 2558"/>
                  <a:gd name="T85" fmla="*/ 0 h 4943"/>
                  <a:gd name="T86" fmla="*/ 0 w 2558"/>
                  <a:gd name="T87" fmla="*/ 0 h 4943"/>
                  <a:gd name="T88" fmla="*/ 0 w 2558"/>
                  <a:gd name="T89" fmla="*/ 0 h 4943"/>
                  <a:gd name="T90" fmla="*/ 0 w 2558"/>
                  <a:gd name="T91" fmla="*/ 0 h 4943"/>
                  <a:gd name="T92" fmla="*/ 0 w 2558"/>
                  <a:gd name="T93" fmla="*/ 0 h 4943"/>
                  <a:gd name="T94" fmla="*/ 0 w 2558"/>
                  <a:gd name="T95" fmla="*/ 0 h 4943"/>
                  <a:gd name="T96" fmla="*/ 0 w 2558"/>
                  <a:gd name="T97" fmla="*/ 0 h 4943"/>
                  <a:gd name="T98" fmla="*/ 0 w 2558"/>
                  <a:gd name="T99" fmla="*/ 0 h 4943"/>
                  <a:gd name="T100" fmla="*/ 0 w 2558"/>
                  <a:gd name="T101" fmla="*/ 0 h 4943"/>
                  <a:gd name="T102" fmla="*/ 0 w 2558"/>
                  <a:gd name="T103" fmla="*/ 0 h 4943"/>
                  <a:gd name="T104" fmla="*/ 0 w 2558"/>
                  <a:gd name="T105" fmla="*/ 0 h 4943"/>
                  <a:gd name="T106" fmla="*/ 0 w 2558"/>
                  <a:gd name="T107" fmla="*/ 0 h 4943"/>
                  <a:gd name="T108" fmla="*/ 0 w 2558"/>
                  <a:gd name="T109" fmla="*/ 0 h 4943"/>
                  <a:gd name="T110" fmla="*/ 0 w 2558"/>
                  <a:gd name="T111" fmla="*/ 0 h 494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58"/>
                  <a:gd name="T169" fmla="*/ 0 h 4943"/>
                  <a:gd name="T170" fmla="*/ 2558 w 2558"/>
                  <a:gd name="T171" fmla="*/ 4943 h 494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58" h="4943">
                    <a:moveTo>
                      <a:pt x="110" y="193"/>
                    </a:moveTo>
                    <a:lnTo>
                      <a:pt x="118" y="219"/>
                    </a:lnTo>
                    <a:lnTo>
                      <a:pt x="129" y="245"/>
                    </a:lnTo>
                    <a:lnTo>
                      <a:pt x="142" y="270"/>
                    </a:lnTo>
                    <a:lnTo>
                      <a:pt x="155" y="296"/>
                    </a:lnTo>
                    <a:lnTo>
                      <a:pt x="167" y="320"/>
                    </a:lnTo>
                    <a:lnTo>
                      <a:pt x="179" y="346"/>
                    </a:lnTo>
                    <a:lnTo>
                      <a:pt x="190" y="371"/>
                    </a:lnTo>
                    <a:lnTo>
                      <a:pt x="199" y="400"/>
                    </a:lnTo>
                    <a:lnTo>
                      <a:pt x="242" y="462"/>
                    </a:lnTo>
                    <a:lnTo>
                      <a:pt x="285" y="526"/>
                    </a:lnTo>
                    <a:lnTo>
                      <a:pt x="329" y="591"/>
                    </a:lnTo>
                    <a:lnTo>
                      <a:pt x="372" y="656"/>
                    </a:lnTo>
                    <a:lnTo>
                      <a:pt x="417" y="719"/>
                    </a:lnTo>
                    <a:lnTo>
                      <a:pt x="465" y="781"/>
                    </a:lnTo>
                    <a:lnTo>
                      <a:pt x="516" y="839"/>
                    </a:lnTo>
                    <a:lnTo>
                      <a:pt x="571" y="894"/>
                    </a:lnTo>
                    <a:lnTo>
                      <a:pt x="600" y="926"/>
                    </a:lnTo>
                    <a:lnTo>
                      <a:pt x="626" y="959"/>
                    </a:lnTo>
                    <a:lnTo>
                      <a:pt x="649" y="994"/>
                    </a:lnTo>
                    <a:lnTo>
                      <a:pt x="672" y="1031"/>
                    </a:lnTo>
                    <a:lnTo>
                      <a:pt x="694" y="1067"/>
                    </a:lnTo>
                    <a:lnTo>
                      <a:pt x="718" y="1104"/>
                    </a:lnTo>
                    <a:lnTo>
                      <a:pt x="741" y="1140"/>
                    </a:lnTo>
                    <a:lnTo>
                      <a:pt x="768" y="1176"/>
                    </a:lnTo>
                    <a:lnTo>
                      <a:pt x="789" y="1227"/>
                    </a:lnTo>
                    <a:lnTo>
                      <a:pt x="813" y="1277"/>
                    </a:lnTo>
                    <a:lnTo>
                      <a:pt x="839" y="1326"/>
                    </a:lnTo>
                    <a:lnTo>
                      <a:pt x="868" y="1375"/>
                    </a:lnTo>
                    <a:lnTo>
                      <a:pt x="898" y="1421"/>
                    </a:lnTo>
                    <a:lnTo>
                      <a:pt x="931" y="1468"/>
                    </a:lnTo>
                    <a:lnTo>
                      <a:pt x="965" y="1514"/>
                    </a:lnTo>
                    <a:lnTo>
                      <a:pt x="1002" y="1561"/>
                    </a:lnTo>
                    <a:lnTo>
                      <a:pt x="1043" y="1624"/>
                    </a:lnTo>
                    <a:lnTo>
                      <a:pt x="1091" y="1687"/>
                    </a:lnTo>
                    <a:lnTo>
                      <a:pt x="1140" y="1747"/>
                    </a:lnTo>
                    <a:lnTo>
                      <a:pt x="1193" y="1807"/>
                    </a:lnTo>
                    <a:lnTo>
                      <a:pt x="1245" y="1867"/>
                    </a:lnTo>
                    <a:lnTo>
                      <a:pt x="1299" y="1927"/>
                    </a:lnTo>
                    <a:lnTo>
                      <a:pt x="1351" y="1988"/>
                    </a:lnTo>
                    <a:lnTo>
                      <a:pt x="1402" y="2051"/>
                    </a:lnTo>
                    <a:lnTo>
                      <a:pt x="1414" y="2057"/>
                    </a:lnTo>
                    <a:lnTo>
                      <a:pt x="1427" y="2068"/>
                    </a:lnTo>
                    <a:lnTo>
                      <a:pt x="1438" y="2079"/>
                    </a:lnTo>
                    <a:lnTo>
                      <a:pt x="1450" y="2092"/>
                    </a:lnTo>
                    <a:lnTo>
                      <a:pt x="1460" y="2105"/>
                    </a:lnTo>
                    <a:lnTo>
                      <a:pt x="1469" y="2118"/>
                    </a:lnTo>
                    <a:lnTo>
                      <a:pt x="1479" y="2131"/>
                    </a:lnTo>
                    <a:lnTo>
                      <a:pt x="1490" y="2146"/>
                    </a:lnTo>
                    <a:lnTo>
                      <a:pt x="1510" y="2175"/>
                    </a:lnTo>
                    <a:lnTo>
                      <a:pt x="1530" y="2206"/>
                    </a:lnTo>
                    <a:lnTo>
                      <a:pt x="1550" y="2237"/>
                    </a:lnTo>
                    <a:lnTo>
                      <a:pt x="1571" y="2268"/>
                    </a:lnTo>
                    <a:lnTo>
                      <a:pt x="1590" y="2298"/>
                    </a:lnTo>
                    <a:lnTo>
                      <a:pt x="1612" y="2328"/>
                    </a:lnTo>
                    <a:lnTo>
                      <a:pt x="1633" y="2356"/>
                    </a:lnTo>
                    <a:lnTo>
                      <a:pt x="1654" y="2386"/>
                    </a:lnTo>
                    <a:lnTo>
                      <a:pt x="1666" y="2385"/>
                    </a:lnTo>
                    <a:lnTo>
                      <a:pt x="1676" y="2387"/>
                    </a:lnTo>
                    <a:lnTo>
                      <a:pt x="1683" y="2392"/>
                    </a:lnTo>
                    <a:lnTo>
                      <a:pt x="1689" y="2402"/>
                    </a:lnTo>
                    <a:lnTo>
                      <a:pt x="1693" y="2411"/>
                    </a:lnTo>
                    <a:lnTo>
                      <a:pt x="1699" y="2421"/>
                    </a:lnTo>
                    <a:lnTo>
                      <a:pt x="1703" y="2429"/>
                    </a:lnTo>
                    <a:lnTo>
                      <a:pt x="1710" y="2438"/>
                    </a:lnTo>
                    <a:lnTo>
                      <a:pt x="1711" y="2458"/>
                    </a:lnTo>
                    <a:lnTo>
                      <a:pt x="1714" y="2478"/>
                    </a:lnTo>
                    <a:lnTo>
                      <a:pt x="1717" y="2498"/>
                    </a:lnTo>
                    <a:lnTo>
                      <a:pt x="1722" y="2517"/>
                    </a:lnTo>
                    <a:lnTo>
                      <a:pt x="1726" y="2535"/>
                    </a:lnTo>
                    <a:lnTo>
                      <a:pt x="1733" y="2552"/>
                    </a:lnTo>
                    <a:lnTo>
                      <a:pt x="1741" y="2568"/>
                    </a:lnTo>
                    <a:lnTo>
                      <a:pt x="1753" y="2585"/>
                    </a:lnTo>
                    <a:lnTo>
                      <a:pt x="1759" y="2596"/>
                    </a:lnTo>
                    <a:lnTo>
                      <a:pt x="1766" y="2606"/>
                    </a:lnTo>
                    <a:lnTo>
                      <a:pt x="1774" y="2617"/>
                    </a:lnTo>
                    <a:lnTo>
                      <a:pt x="1784" y="2628"/>
                    </a:lnTo>
                    <a:lnTo>
                      <a:pt x="1792" y="2639"/>
                    </a:lnTo>
                    <a:lnTo>
                      <a:pt x="1802" y="2650"/>
                    </a:lnTo>
                    <a:lnTo>
                      <a:pt x="1810" y="2661"/>
                    </a:lnTo>
                    <a:lnTo>
                      <a:pt x="1817" y="2674"/>
                    </a:lnTo>
                    <a:lnTo>
                      <a:pt x="1862" y="2759"/>
                    </a:lnTo>
                    <a:lnTo>
                      <a:pt x="1905" y="2846"/>
                    </a:lnTo>
                    <a:lnTo>
                      <a:pt x="1948" y="2933"/>
                    </a:lnTo>
                    <a:lnTo>
                      <a:pt x="1988" y="3022"/>
                    </a:lnTo>
                    <a:lnTo>
                      <a:pt x="2024" y="3110"/>
                    </a:lnTo>
                    <a:lnTo>
                      <a:pt x="2058" y="3202"/>
                    </a:lnTo>
                    <a:lnTo>
                      <a:pt x="2086" y="3294"/>
                    </a:lnTo>
                    <a:lnTo>
                      <a:pt x="2111" y="3389"/>
                    </a:lnTo>
                    <a:lnTo>
                      <a:pt x="2151" y="3511"/>
                    </a:lnTo>
                    <a:lnTo>
                      <a:pt x="2186" y="3637"/>
                    </a:lnTo>
                    <a:lnTo>
                      <a:pt x="2216" y="3763"/>
                    </a:lnTo>
                    <a:lnTo>
                      <a:pt x="2245" y="3893"/>
                    </a:lnTo>
                    <a:lnTo>
                      <a:pt x="2271" y="4020"/>
                    </a:lnTo>
                    <a:lnTo>
                      <a:pt x="2301" y="4148"/>
                    </a:lnTo>
                    <a:lnTo>
                      <a:pt x="2336" y="4273"/>
                    </a:lnTo>
                    <a:lnTo>
                      <a:pt x="2378" y="4397"/>
                    </a:lnTo>
                    <a:lnTo>
                      <a:pt x="2390" y="4439"/>
                    </a:lnTo>
                    <a:lnTo>
                      <a:pt x="2403" y="4483"/>
                    </a:lnTo>
                    <a:lnTo>
                      <a:pt x="2418" y="4525"/>
                    </a:lnTo>
                    <a:lnTo>
                      <a:pt x="2433" y="4570"/>
                    </a:lnTo>
                    <a:lnTo>
                      <a:pt x="2446" y="4612"/>
                    </a:lnTo>
                    <a:lnTo>
                      <a:pt x="2460" y="4657"/>
                    </a:lnTo>
                    <a:lnTo>
                      <a:pt x="2472" y="4702"/>
                    </a:lnTo>
                    <a:lnTo>
                      <a:pt x="2482" y="4748"/>
                    </a:lnTo>
                    <a:lnTo>
                      <a:pt x="2558" y="4943"/>
                    </a:lnTo>
                    <a:lnTo>
                      <a:pt x="2530" y="4894"/>
                    </a:lnTo>
                    <a:lnTo>
                      <a:pt x="2501" y="4847"/>
                    </a:lnTo>
                    <a:lnTo>
                      <a:pt x="2472" y="4799"/>
                    </a:lnTo>
                    <a:lnTo>
                      <a:pt x="2443" y="4752"/>
                    </a:lnTo>
                    <a:lnTo>
                      <a:pt x="2414" y="4704"/>
                    </a:lnTo>
                    <a:lnTo>
                      <a:pt x="2389" y="4656"/>
                    </a:lnTo>
                    <a:lnTo>
                      <a:pt x="2366" y="4605"/>
                    </a:lnTo>
                    <a:lnTo>
                      <a:pt x="2349" y="4553"/>
                    </a:lnTo>
                    <a:lnTo>
                      <a:pt x="2313" y="4461"/>
                    </a:lnTo>
                    <a:lnTo>
                      <a:pt x="2284" y="4369"/>
                    </a:lnTo>
                    <a:lnTo>
                      <a:pt x="2257" y="4276"/>
                    </a:lnTo>
                    <a:lnTo>
                      <a:pt x="2233" y="4185"/>
                    </a:lnTo>
                    <a:lnTo>
                      <a:pt x="2206" y="4093"/>
                    </a:lnTo>
                    <a:lnTo>
                      <a:pt x="2177" y="4001"/>
                    </a:lnTo>
                    <a:lnTo>
                      <a:pt x="2141" y="3911"/>
                    </a:lnTo>
                    <a:lnTo>
                      <a:pt x="2099" y="3824"/>
                    </a:lnTo>
                    <a:lnTo>
                      <a:pt x="2079" y="3774"/>
                    </a:lnTo>
                    <a:lnTo>
                      <a:pt x="2061" y="3725"/>
                    </a:lnTo>
                    <a:lnTo>
                      <a:pt x="2040" y="3676"/>
                    </a:lnTo>
                    <a:lnTo>
                      <a:pt x="2021" y="3628"/>
                    </a:lnTo>
                    <a:lnTo>
                      <a:pt x="1998" y="3579"/>
                    </a:lnTo>
                    <a:lnTo>
                      <a:pt x="1975" y="3533"/>
                    </a:lnTo>
                    <a:lnTo>
                      <a:pt x="1948" y="3486"/>
                    </a:lnTo>
                    <a:lnTo>
                      <a:pt x="1920" y="3441"/>
                    </a:lnTo>
                    <a:lnTo>
                      <a:pt x="1886" y="3397"/>
                    </a:lnTo>
                    <a:lnTo>
                      <a:pt x="1855" y="3353"/>
                    </a:lnTo>
                    <a:lnTo>
                      <a:pt x="1826" y="3309"/>
                    </a:lnTo>
                    <a:lnTo>
                      <a:pt x="1799" y="3264"/>
                    </a:lnTo>
                    <a:lnTo>
                      <a:pt x="1770" y="3218"/>
                    </a:lnTo>
                    <a:lnTo>
                      <a:pt x="1742" y="3174"/>
                    </a:lnTo>
                    <a:lnTo>
                      <a:pt x="1713" y="3128"/>
                    </a:lnTo>
                    <a:lnTo>
                      <a:pt x="1684" y="3084"/>
                    </a:lnTo>
                    <a:lnTo>
                      <a:pt x="1674" y="3061"/>
                    </a:lnTo>
                    <a:lnTo>
                      <a:pt x="1664" y="3039"/>
                    </a:lnTo>
                    <a:lnTo>
                      <a:pt x="1651" y="3017"/>
                    </a:lnTo>
                    <a:lnTo>
                      <a:pt x="1639" y="2997"/>
                    </a:lnTo>
                    <a:lnTo>
                      <a:pt x="1626" y="2975"/>
                    </a:lnTo>
                    <a:lnTo>
                      <a:pt x="1613" y="2953"/>
                    </a:lnTo>
                    <a:lnTo>
                      <a:pt x="1602" y="2931"/>
                    </a:lnTo>
                    <a:lnTo>
                      <a:pt x="1594" y="2910"/>
                    </a:lnTo>
                    <a:lnTo>
                      <a:pt x="1558" y="2861"/>
                    </a:lnTo>
                    <a:lnTo>
                      <a:pt x="1522" y="2813"/>
                    </a:lnTo>
                    <a:lnTo>
                      <a:pt x="1486" y="2764"/>
                    </a:lnTo>
                    <a:lnTo>
                      <a:pt x="1452" y="2716"/>
                    </a:lnTo>
                    <a:lnTo>
                      <a:pt x="1417" y="2666"/>
                    </a:lnTo>
                    <a:lnTo>
                      <a:pt x="1386" y="2617"/>
                    </a:lnTo>
                    <a:lnTo>
                      <a:pt x="1355" y="2567"/>
                    </a:lnTo>
                    <a:lnTo>
                      <a:pt x="1327" y="2516"/>
                    </a:lnTo>
                    <a:lnTo>
                      <a:pt x="1288" y="2453"/>
                    </a:lnTo>
                    <a:lnTo>
                      <a:pt x="1252" y="2391"/>
                    </a:lnTo>
                    <a:lnTo>
                      <a:pt x="1217" y="2327"/>
                    </a:lnTo>
                    <a:lnTo>
                      <a:pt x="1185" y="2264"/>
                    </a:lnTo>
                    <a:lnTo>
                      <a:pt x="1150" y="2200"/>
                    </a:lnTo>
                    <a:lnTo>
                      <a:pt x="1116" y="2137"/>
                    </a:lnTo>
                    <a:lnTo>
                      <a:pt x="1080" y="2074"/>
                    </a:lnTo>
                    <a:lnTo>
                      <a:pt x="1044" y="2012"/>
                    </a:lnTo>
                    <a:lnTo>
                      <a:pt x="1012" y="1954"/>
                    </a:lnTo>
                    <a:lnTo>
                      <a:pt x="981" y="1898"/>
                    </a:lnTo>
                    <a:lnTo>
                      <a:pt x="952" y="1840"/>
                    </a:lnTo>
                    <a:lnTo>
                      <a:pt x="924" y="1782"/>
                    </a:lnTo>
                    <a:lnTo>
                      <a:pt x="895" y="1724"/>
                    </a:lnTo>
                    <a:lnTo>
                      <a:pt x="868" y="1665"/>
                    </a:lnTo>
                    <a:lnTo>
                      <a:pt x="841" y="1606"/>
                    </a:lnTo>
                    <a:lnTo>
                      <a:pt x="814" y="1550"/>
                    </a:lnTo>
                    <a:lnTo>
                      <a:pt x="793" y="1531"/>
                    </a:lnTo>
                    <a:lnTo>
                      <a:pt x="762" y="1488"/>
                    </a:lnTo>
                    <a:lnTo>
                      <a:pt x="721" y="1426"/>
                    </a:lnTo>
                    <a:lnTo>
                      <a:pt x="677" y="1352"/>
                    </a:lnTo>
                    <a:lnTo>
                      <a:pt x="629" y="1270"/>
                    </a:lnTo>
                    <a:lnTo>
                      <a:pt x="584" y="1190"/>
                    </a:lnTo>
                    <a:lnTo>
                      <a:pt x="544" y="1115"/>
                    </a:lnTo>
                    <a:lnTo>
                      <a:pt x="514" y="1054"/>
                    </a:lnTo>
                    <a:lnTo>
                      <a:pt x="490" y="1026"/>
                    </a:lnTo>
                    <a:lnTo>
                      <a:pt x="468" y="1001"/>
                    </a:lnTo>
                    <a:lnTo>
                      <a:pt x="448" y="978"/>
                    </a:lnTo>
                    <a:lnTo>
                      <a:pt x="431" y="955"/>
                    </a:lnTo>
                    <a:lnTo>
                      <a:pt x="414" y="931"/>
                    </a:lnTo>
                    <a:lnTo>
                      <a:pt x="401" y="905"/>
                    </a:lnTo>
                    <a:lnTo>
                      <a:pt x="386" y="876"/>
                    </a:lnTo>
                    <a:lnTo>
                      <a:pt x="377" y="844"/>
                    </a:lnTo>
                    <a:lnTo>
                      <a:pt x="358" y="802"/>
                    </a:lnTo>
                    <a:lnTo>
                      <a:pt x="339" y="757"/>
                    </a:lnTo>
                    <a:lnTo>
                      <a:pt x="316" y="712"/>
                    </a:lnTo>
                    <a:lnTo>
                      <a:pt x="294" y="666"/>
                    </a:lnTo>
                    <a:lnTo>
                      <a:pt x="271" y="619"/>
                    </a:lnTo>
                    <a:lnTo>
                      <a:pt x="249" y="574"/>
                    </a:lnTo>
                    <a:lnTo>
                      <a:pt x="230" y="530"/>
                    </a:lnTo>
                    <a:lnTo>
                      <a:pt x="214" y="489"/>
                    </a:lnTo>
                    <a:lnTo>
                      <a:pt x="186" y="440"/>
                    </a:lnTo>
                    <a:lnTo>
                      <a:pt x="159" y="391"/>
                    </a:lnTo>
                    <a:lnTo>
                      <a:pt x="132" y="342"/>
                    </a:lnTo>
                    <a:lnTo>
                      <a:pt x="107" y="294"/>
                    </a:lnTo>
                    <a:lnTo>
                      <a:pt x="82" y="244"/>
                    </a:lnTo>
                    <a:lnTo>
                      <a:pt x="60" y="194"/>
                    </a:lnTo>
                    <a:lnTo>
                      <a:pt x="42" y="142"/>
                    </a:lnTo>
                    <a:lnTo>
                      <a:pt x="28" y="90"/>
                    </a:lnTo>
                    <a:lnTo>
                      <a:pt x="21" y="78"/>
                    </a:lnTo>
                    <a:lnTo>
                      <a:pt x="17" y="67"/>
                    </a:lnTo>
                    <a:lnTo>
                      <a:pt x="12" y="56"/>
                    </a:lnTo>
                    <a:lnTo>
                      <a:pt x="10" y="45"/>
                    </a:lnTo>
                    <a:lnTo>
                      <a:pt x="7" y="33"/>
                    </a:lnTo>
                    <a:lnTo>
                      <a:pt x="5" y="22"/>
                    </a:lnTo>
                    <a:lnTo>
                      <a:pt x="3" y="10"/>
                    </a:lnTo>
                    <a:lnTo>
                      <a:pt x="0" y="1"/>
                    </a:lnTo>
                    <a:lnTo>
                      <a:pt x="3" y="0"/>
                    </a:lnTo>
                    <a:lnTo>
                      <a:pt x="4" y="1"/>
                    </a:lnTo>
                    <a:lnTo>
                      <a:pt x="6" y="2"/>
                    </a:lnTo>
                    <a:lnTo>
                      <a:pt x="11" y="3"/>
                    </a:lnTo>
                    <a:lnTo>
                      <a:pt x="10" y="3"/>
                    </a:lnTo>
                    <a:lnTo>
                      <a:pt x="12" y="3"/>
                    </a:lnTo>
                    <a:lnTo>
                      <a:pt x="23" y="26"/>
                    </a:lnTo>
                    <a:lnTo>
                      <a:pt x="35" y="48"/>
                    </a:lnTo>
                    <a:lnTo>
                      <a:pt x="47" y="72"/>
                    </a:lnTo>
                    <a:lnTo>
                      <a:pt x="59" y="97"/>
                    </a:lnTo>
                    <a:lnTo>
                      <a:pt x="71" y="120"/>
                    </a:lnTo>
                    <a:lnTo>
                      <a:pt x="83" y="145"/>
                    </a:lnTo>
                    <a:lnTo>
                      <a:pt x="96" y="168"/>
                    </a:lnTo>
                    <a:lnTo>
                      <a:pt x="110" y="193"/>
                    </a:lnTo>
                    <a:close/>
                  </a:path>
                </a:pathLst>
              </a:custGeom>
              <a:solidFill>
                <a:srgbClr val="E91A00"/>
              </a:solidFill>
              <a:ln w="9525">
                <a:noFill/>
                <a:round/>
                <a:headEnd/>
                <a:tailEnd/>
              </a:ln>
            </p:spPr>
            <p:txBody>
              <a:bodyPr/>
              <a:lstStyle/>
              <a:p>
                <a:pPr>
                  <a:defRPr/>
                </a:pPr>
                <a:endParaRPr lang="en-US" dirty="0">
                  <a:cs typeface="+mn-cs"/>
                </a:endParaRPr>
              </a:p>
            </p:txBody>
          </p:sp>
          <p:sp>
            <p:nvSpPr>
              <p:cNvPr id="58" name="Freeform 1104"/>
              <p:cNvSpPr>
                <a:spLocks/>
              </p:cNvSpPr>
              <p:nvPr/>
            </p:nvSpPr>
            <p:spPr bwMode="auto">
              <a:xfrm>
                <a:off x="4133" y="2289"/>
                <a:ext cx="646" cy="1252"/>
              </a:xfrm>
              <a:custGeom>
                <a:avLst/>
                <a:gdLst>
                  <a:gd name="T0" fmla="*/ 0 w 2586"/>
                  <a:gd name="T1" fmla="*/ 0 h 5007"/>
                  <a:gd name="T2" fmla="*/ 0 w 2586"/>
                  <a:gd name="T3" fmla="*/ 0 h 5007"/>
                  <a:gd name="T4" fmla="*/ 0 w 2586"/>
                  <a:gd name="T5" fmla="*/ 0 h 5007"/>
                  <a:gd name="T6" fmla="*/ 0 w 2586"/>
                  <a:gd name="T7" fmla="*/ 0 h 5007"/>
                  <a:gd name="T8" fmla="*/ 0 w 2586"/>
                  <a:gd name="T9" fmla="*/ 0 h 5007"/>
                  <a:gd name="T10" fmla="*/ 0 w 2586"/>
                  <a:gd name="T11" fmla="*/ 0 h 5007"/>
                  <a:gd name="T12" fmla="*/ 0 w 2586"/>
                  <a:gd name="T13" fmla="*/ 0 h 5007"/>
                  <a:gd name="T14" fmla="*/ 0 w 2586"/>
                  <a:gd name="T15" fmla="*/ 0 h 5007"/>
                  <a:gd name="T16" fmla="*/ 0 w 2586"/>
                  <a:gd name="T17" fmla="*/ 0 h 5007"/>
                  <a:gd name="T18" fmla="*/ 0 w 2586"/>
                  <a:gd name="T19" fmla="*/ 0 h 5007"/>
                  <a:gd name="T20" fmla="*/ 0 w 2586"/>
                  <a:gd name="T21" fmla="*/ 0 h 5007"/>
                  <a:gd name="T22" fmla="*/ 0 w 2586"/>
                  <a:gd name="T23" fmla="*/ 0 h 5007"/>
                  <a:gd name="T24" fmla="*/ 0 w 2586"/>
                  <a:gd name="T25" fmla="*/ 0 h 5007"/>
                  <a:gd name="T26" fmla="*/ 0 w 2586"/>
                  <a:gd name="T27" fmla="*/ 0 h 5007"/>
                  <a:gd name="T28" fmla="*/ 0 w 2586"/>
                  <a:gd name="T29" fmla="*/ 0 h 5007"/>
                  <a:gd name="T30" fmla="*/ 0 w 2586"/>
                  <a:gd name="T31" fmla="*/ 0 h 5007"/>
                  <a:gd name="T32" fmla="*/ 0 w 2586"/>
                  <a:gd name="T33" fmla="*/ 0 h 5007"/>
                  <a:gd name="T34" fmla="*/ 0 w 2586"/>
                  <a:gd name="T35" fmla="*/ 0 h 5007"/>
                  <a:gd name="T36" fmla="*/ 0 w 2586"/>
                  <a:gd name="T37" fmla="*/ 0 h 5007"/>
                  <a:gd name="T38" fmla="*/ 0 w 2586"/>
                  <a:gd name="T39" fmla="*/ 0 h 5007"/>
                  <a:gd name="T40" fmla="*/ 0 w 2586"/>
                  <a:gd name="T41" fmla="*/ 0 h 5007"/>
                  <a:gd name="T42" fmla="*/ 0 w 2586"/>
                  <a:gd name="T43" fmla="*/ 0 h 5007"/>
                  <a:gd name="T44" fmla="*/ 0 w 2586"/>
                  <a:gd name="T45" fmla="*/ 0 h 5007"/>
                  <a:gd name="T46" fmla="*/ 0 w 2586"/>
                  <a:gd name="T47" fmla="*/ 0 h 5007"/>
                  <a:gd name="T48" fmla="*/ 0 w 2586"/>
                  <a:gd name="T49" fmla="*/ 0 h 5007"/>
                  <a:gd name="T50" fmla="*/ 0 w 2586"/>
                  <a:gd name="T51" fmla="*/ 0 h 5007"/>
                  <a:gd name="T52" fmla="*/ 0 w 2586"/>
                  <a:gd name="T53" fmla="*/ 0 h 5007"/>
                  <a:gd name="T54" fmla="*/ 0 w 2586"/>
                  <a:gd name="T55" fmla="*/ 0 h 5007"/>
                  <a:gd name="T56" fmla="*/ 0 w 2586"/>
                  <a:gd name="T57" fmla="*/ 0 h 5007"/>
                  <a:gd name="T58" fmla="*/ 0 w 2586"/>
                  <a:gd name="T59" fmla="*/ 0 h 5007"/>
                  <a:gd name="T60" fmla="*/ 0 w 2586"/>
                  <a:gd name="T61" fmla="*/ 0 h 5007"/>
                  <a:gd name="T62" fmla="*/ 0 w 2586"/>
                  <a:gd name="T63" fmla="*/ 0 h 5007"/>
                  <a:gd name="T64" fmla="*/ 0 w 2586"/>
                  <a:gd name="T65" fmla="*/ 0 h 5007"/>
                  <a:gd name="T66" fmla="*/ 0 w 2586"/>
                  <a:gd name="T67" fmla="*/ 0 h 5007"/>
                  <a:gd name="T68" fmla="*/ 0 w 2586"/>
                  <a:gd name="T69" fmla="*/ 0 h 5007"/>
                  <a:gd name="T70" fmla="*/ 0 w 2586"/>
                  <a:gd name="T71" fmla="*/ 0 h 5007"/>
                  <a:gd name="T72" fmla="*/ 0 w 2586"/>
                  <a:gd name="T73" fmla="*/ 0 h 5007"/>
                  <a:gd name="T74" fmla="*/ 0 w 2586"/>
                  <a:gd name="T75" fmla="*/ 0 h 5007"/>
                  <a:gd name="T76" fmla="*/ 0 w 2586"/>
                  <a:gd name="T77" fmla="*/ 0 h 5007"/>
                  <a:gd name="T78" fmla="*/ 0 w 2586"/>
                  <a:gd name="T79" fmla="*/ 0 h 5007"/>
                  <a:gd name="T80" fmla="*/ 0 w 2586"/>
                  <a:gd name="T81" fmla="*/ 0 h 5007"/>
                  <a:gd name="T82" fmla="*/ 0 w 2586"/>
                  <a:gd name="T83" fmla="*/ 0 h 5007"/>
                  <a:gd name="T84" fmla="*/ 0 w 2586"/>
                  <a:gd name="T85" fmla="*/ 0 h 5007"/>
                  <a:gd name="T86" fmla="*/ 0 w 2586"/>
                  <a:gd name="T87" fmla="*/ 0 h 5007"/>
                  <a:gd name="T88" fmla="*/ 0 w 2586"/>
                  <a:gd name="T89" fmla="*/ 0 h 5007"/>
                  <a:gd name="T90" fmla="*/ 0 w 2586"/>
                  <a:gd name="T91" fmla="*/ 0 h 5007"/>
                  <a:gd name="T92" fmla="*/ 0 w 2586"/>
                  <a:gd name="T93" fmla="*/ 0 h 5007"/>
                  <a:gd name="T94" fmla="*/ 0 w 2586"/>
                  <a:gd name="T95" fmla="*/ 0 h 5007"/>
                  <a:gd name="T96" fmla="*/ 0 w 2586"/>
                  <a:gd name="T97" fmla="*/ 0 h 5007"/>
                  <a:gd name="T98" fmla="*/ 0 w 2586"/>
                  <a:gd name="T99" fmla="*/ 0 h 5007"/>
                  <a:gd name="T100" fmla="*/ 0 w 2586"/>
                  <a:gd name="T101" fmla="*/ 0 h 5007"/>
                  <a:gd name="T102" fmla="*/ 0 w 2586"/>
                  <a:gd name="T103" fmla="*/ 0 h 5007"/>
                  <a:gd name="T104" fmla="*/ 0 w 2586"/>
                  <a:gd name="T105" fmla="*/ 0 h 5007"/>
                  <a:gd name="T106" fmla="*/ 0 w 2586"/>
                  <a:gd name="T107" fmla="*/ 0 h 5007"/>
                  <a:gd name="T108" fmla="*/ 0 w 2586"/>
                  <a:gd name="T109" fmla="*/ 0 h 5007"/>
                  <a:gd name="T110" fmla="*/ 0 w 2586"/>
                  <a:gd name="T111" fmla="*/ 0 h 5007"/>
                  <a:gd name="T112" fmla="*/ 0 w 2586"/>
                  <a:gd name="T113" fmla="*/ 0 h 500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586"/>
                  <a:gd name="T172" fmla="*/ 0 h 5007"/>
                  <a:gd name="T173" fmla="*/ 2586 w 2586"/>
                  <a:gd name="T174" fmla="*/ 5007 h 500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586" h="5007">
                    <a:moveTo>
                      <a:pt x="138" y="257"/>
                    </a:moveTo>
                    <a:lnTo>
                      <a:pt x="146" y="283"/>
                    </a:lnTo>
                    <a:lnTo>
                      <a:pt x="157" y="309"/>
                    </a:lnTo>
                    <a:lnTo>
                      <a:pt x="170" y="334"/>
                    </a:lnTo>
                    <a:lnTo>
                      <a:pt x="183" y="360"/>
                    </a:lnTo>
                    <a:lnTo>
                      <a:pt x="195" y="384"/>
                    </a:lnTo>
                    <a:lnTo>
                      <a:pt x="207" y="410"/>
                    </a:lnTo>
                    <a:lnTo>
                      <a:pt x="218" y="435"/>
                    </a:lnTo>
                    <a:lnTo>
                      <a:pt x="227" y="464"/>
                    </a:lnTo>
                    <a:lnTo>
                      <a:pt x="270" y="526"/>
                    </a:lnTo>
                    <a:lnTo>
                      <a:pt x="313" y="590"/>
                    </a:lnTo>
                    <a:lnTo>
                      <a:pt x="357" y="655"/>
                    </a:lnTo>
                    <a:lnTo>
                      <a:pt x="400" y="720"/>
                    </a:lnTo>
                    <a:lnTo>
                      <a:pt x="445" y="783"/>
                    </a:lnTo>
                    <a:lnTo>
                      <a:pt x="493" y="845"/>
                    </a:lnTo>
                    <a:lnTo>
                      <a:pt x="544" y="903"/>
                    </a:lnTo>
                    <a:lnTo>
                      <a:pt x="599" y="958"/>
                    </a:lnTo>
                    <a:lnTo>
                      <a:pt x="628" y="990"/>
                    </a:lnTo>
                    <a:lnTo>
                      <a:pt x="654" y="1023"/>
                    </a:lnTo>
                    <a:lnTo>
                      <a:pt x="677" y="1058"/>
                    </a:lnTo>
                    <a:lnTo>
                      <a:pt x="700" y="1095"/>
                    </a:lnTo>
                    <a:lnTo>
                      <a:pt x="722" y="1131"/>
                    </a:lnTo>
                    <a:lnTo>
                      <a:pt x="746" y="1168"/>
                    </a:lnTo>
                    <a:lnTo>
                      <a:pt x="769" y="1204"/>
                    </a:lnTo>
                    <a:lnTo>
                      <a:pt x="796" y="1240"/>
                    </a:lnTo>
                    <a:lnTo>
                      <a:pt x="817" y="1291"/>
                    </a:lnTo>
                    <a:lnTo>
                      <a:pt x="841" y="1341"/>
                    </a:lnTo>
                    <a:lnTo>
                      <a:pt x="867" y="1390"/>
                    </a:lnTo>
                    <a:lnTo>
                      <a:pt x="896" y="1439"/>
                    </a:lnTo>
                    <a:lnTo>
                      <a:pt x="926" y="1485"/>
                    </a:lnTo>
                    <a:lnTo>
                      <a:pt x="959" y="1532"/>
                    </a:lnTo>
                    <a:lnTo>
                      <a:pt x="993" y="1578"/>
                    </a:lnTo>
                    <a:lnTo>
                      <a:pt x="1030" y="1625"/>
                    </a:lnTo>
                    <a:lnTo>
                      <a:pt x="1071" y="1688"/>
                    </a:lnTo>
                    <a:lnTo>
                      <a:pt x="1119" y="1751"/>
                    </a:lnTo>
                    <a:lnTo>
                      <a:pt x="1168" y="1811"/>
                    </a:lnTo>
                    <a:lnTo>
                      <a:pt x="1221" y="1871"/>
                    </a:lnTo>
                    <a:lnTo>
                      <a:pt x="1273" y="1931"/>
                    </a:lnTo>
                    <a:lnTo>
                      <a:pt x="1327" y="1991"/>
                    </a:lnTo>
                    <a:lnTo>
                      <a:pt x="1379" y="2052"/>
                    </a:lnTo>
                    <a:lnTo>
                      <a:pt x="1430" y="2115"/>
                    </a:lnTo>
                    <a:lnTo>
                      <a:pt x="1442" y="2121"/>
                    </a:lnTo>
                    <a:lnTo>
                      <a:pt x="1455" y="2132"/>
                    </a:lnTo>
                    <a:lnTo>
                      <a:pt x="1466" y="2143"/>
                    </a:lnTo>
                    <a:lnTo>
                      <a:pt x="1478" y="2156"/>
                    </a:lnTo>
                    <a:lnTo>
                      <a:pt x="1488" y="2169"/>
                    </a:lnTo>
                    <a:lnTo>
                      <a:pt x="1497" y="2182"/>
                    </a:lnTo>
                    <a:lnTo>
                      <a:pt x="1507" y="2195"/>
                    </a:lnTo>
                    <a:lnTo>
                      <a:pt x="1518" y="2210"/>
                    </a:lnTo>
                    <a:lnTo>
                      <a:pt x="1538" y="2239"/>
                    </a:lnTo>
                    <a:lnTo>
                      <a:pt x="1558" y="2270"/>
                    </a:lnTo>
                    <a:lnTo>
                      <a:pt x="1578" y="2301"/>
                    </a:lnTo>
                    <a:lnTo>
                      <a:pt x="1599" y="2332"/>
                    </a:lnTo>
                    <a:lnTo>
                      <a:pt x="1618" y="2362"/>
                    </a:lnTo>
                    <a:lnTo>
                      <a:pt x="1640" y="2392"/>
                    </a:lnTo>
                    <a:lnTo>
                      <a:pt x="1661" y="2420"/>
                    </a:lnTo>
                    <a:lnTo>
                      <a:pt x="1682" y="2450"/>
                    </a:lnTo>
                    <a:lnTo>
                      <a:pt x="1694" y="2449"/>
                    </a:lnTo>
                    <a:lnTo>
                      <a:pt x="1704" y="2451"/>
                    </a:lnTo>
                    <a:lnTo>
                      <a:pt x="1711" y="2456"/>
                    </a:lnTo>
                    <a:lnTo>
                      <a:pt x="1717" y="2466"/>
                    </a:lnTo>
                    <a:lnTo>
                      <a:pt x="1721" y="2475"/>
                    </a:lnTo>
                    <a:lnTo>
                      <a:pt x="1727" y="2485"/>
                    </a:lnTo>
                    <a:lnTo>
                      <a:pt x="1731" y="2493"/>
                    </a:lnTo>
                    <a:lnTo>
                      <a:pt x="1738" y="2502"/>
                    </a:lnTo>
                    <a:lnTo>
                      <a:pt x="1739" y="2522"/>
                    </a:lnTo>
                    <a:lnTo>
                      <a:pt x="1742" y="2542"/>
                    </a:lnTo>
                    <a:lnTo>
                      <a:pt x="1745" y="2562"/>
                    </a:lnTo>
                    <a:lnTo>
                      <a:pt x="1750" y="2581"/>
                    </a:lnTo>
                    <a:lnTo>
                      <a:pt x="1754" y="2599"/>
                    </a:lnTo>
                    <a:lnTo>
                      <a:pt x="1761" y="2616"/>
                    </a:lnTo>
                    <a:lnTo>
                      <a:pt x="1769" y="2632"/>
                    </a:lnTo>
                    <a:lnTo>
                      <a:pt x="1781" y="2649"/>
                    </a:lnTo>
                    <a:lnTo>
                      <a:pt x="1787" y="2660"/>
                    </a:lnTo>
                    <a:lnTo>
                      <a:pt x="1794" y="2670"/>
                    </a:lnTo>
                    <a:lnTo>
                      <a:pt x="1802" y="2681"/>
                    </a:lnTo>
                    <a:lnTo>
                      <a:pt x="1812" y="2692"/>
                    </a:lnTo>
                    <a:lnTo>
                      <a:pt x="1820" y="2703"/>
                    </a:lnTo>
                    <a:lnTo>
                      <a:pt x="1830" y="2714"/>
                    </a:lnTo>
                    <a:lnTo>
                      <a:pt x="1838" y="2725"/>
                    </a:lnTo>
                    <a:lnTo>
                      <a:pt x="1845" y="2738"/>
                    </a:lnTo>
                    <a:lnTo>
                      <a:pt x="1890" y="2823"/>
                    </a:lnTo>
                    <a:lnTo>
                      <a:pt x="1933" y="2910"/>
                    </a:lnTo>
                    <a:lnTo>
                      <a:pt x="1976" y="2997"/>
                    </a:lnTo>
                    <a:lnTo>
                      <a:pt x="2016" y="3086"/>
                    </a:lnTo>
                    <a:lnTo>
                      <a:pt x="2052" y="3174"/>
                    </a:lnTo>
                    <a:lnTo>
                      <a:pt x="2086" y="3266"/>
                    </a:lnTo>
                    <a:lnTo>
                      <a:pt x="2114" y="3358"/>
                    </a:lnTo>
                    <a:lnTo>
                      <a:pt x="2139" y="3453"/>
                    </a:lnTo>
                    <a:lnTo>
                      <a:pt x="2179" y="3575"/>
                    </a:lnTo>
                    <a:lnTo>
                      <a:pt x="2214" y="3701"/>
                    </a:lnTo>
                    <a:lnTo>
                      <a:pt x="2244" y="3827"/>
                    </a:lnTo>
                    <a:lnTo>
                      <a:pt x="2273" y="3957"/>
                    </a:lnTo>
                    <a:lnTo>
                      <a:pt x="2299" y="4084"/>
                    </a:lnTo>
                    <a:lnTo>
                      <a:pt x="2329" y="4212"/>
                    </a:lnTo>
                    <a:lnTo>
                      <a:pt x="2364" y="4337"/>
                    </a:lnTo>
                    <a:lnTo>
                      <a:pt x="2406" y="4461"/>
                    </a:lnTo>
                    <a:lnTo>
                      <a:pt x="2418" y="4503"/>
                    </a:lnTo>
                    <a:lnTo>
                      <a:pt x="2431" y="4547"/>
                    </a:lnTo>
                    <a:lnTo>
                      <a:pt x="2446" y="4589"/>
                    </a:lnTo>
                    <a:lnTo>
                      <a:pt x="2461" y="4634"/>
                    </a:lnTo>
                    <a:lnTo>
                      <a:pt x="2474" y="4676"/>
                    </a:lnTo>
                    <a:lnTo>
                      <a:pt x="2488" y="4721"/>
                    </a:lnTo>
                    <a:lnTo>
                      <a:pt x="2500" y="4766"/>
                    </a:lnTo>
                    <a:lnTo>
                      <a:pt x="2510" y="4812"/>
                    </a:lnTo>
                    <a:lnTo>
                      <a:pt x="2586" y="5007"/>
                    </a:lnTo>
                    <a:lnTo>
                      <a:pt x="2558" y="4958"/>
                    </a:lnTo>
                    <a:lnTo>
                      <a:pt x="2529" y="4911"/>
                    </a:lnTo>
                    <a:lnTo>
                      <a:pt x="2500" y="4863"/>
                    </a:lnTo>
                    <a:lnTo>
                      <a:pt x="2471" y="4816"/>
                    </a:lnTo>
                    <a:lnTo>
                      <a:pt x="2442" y="4768"/>
                    </a:lnTo>
                    <a:lnTo>
                      <a:pt x="2417" y="4720"/>
                    </a:lnTo>
                    <a:lnTo>
                      <a:pt x="2394" y="4669"/>
                    </a:lnTo>
                    <a:lnTo>
                      <a:pt x="2377" y="4617"/>
                    </a:lnTo>
                    <a:lnTo>
                      <a:pt x="2342" y="4525"/>
                    </a:lnTo>
                    <a:lnTo>
                      <a:pt x="2315" y="4433"/>
                    </a:lnTo>
                    <a:lnTo>
                      <a:pt x="2291" y="4339"/>
                    </a:lnTo>
                    <a:lnTo>
                      <a:pt x="2271" y="4247"/>
                    </a:lnTo>
                    <a:lnTo>
                      <a:pt x="2248" y="4154"/>
                    </a:lnTo>
                    <a:lnTo>
                      <a:pt x="2222" y="4063"/>
                    </a:lnTo>
                    <a:lnTo>
                      <a:pt x="2188" y="3972"/>
                    </a:lnTo>
                    <a:lnTo>
                      <a:pt x="2147" y="3885"/>
                    </a:lnTo>
                    <a:lnTo>
                      <a:pt x="2127" y="3835"/>
                    </a:lnTo>
                    <a:lnTo>
                      <a:pt x="2107" y="3786"/>
                    </a:lnTo>
                    <a:lnTo>
                      <a:pt x="2088" y="3737"/>
                    </a:lnTo>
                    <a:lnTo>
                      <a:pt x="2068" y="3689"/>
                    </a:lnTo>
                    <a:lnTo>
                      <a:pt x="2047" y="3640"/>
                    </a:lnTo>
                    <a:lnTo>
                      <a:pt x="2023" y="3593"/>
                    </a:lnTo>
                    <a:lnTo>
                      <a:pt x="1997" y="3547"/>
                    </a:lnTo>
                    <a:lnTo>
                      <a:pt x="1968" y="3502"/>
                    </a:lnTo>
                    <a:lnTo>
                      <a:pt x="1935" y="3458"/>
                    </a:lnTo>
                    <a:lnTo>
                      <a:pt x="1904" y="3414"/>
                    </a:lnTo>
                    <a:lnTo>
                      <a:pt x="1875" y="3369"/>
                    </a:lnTo>
                    <a:lnTo>
                      <a:pt x="1846" y="3325"/>
                    </a:lnTo>
                    <a:lnTo>
                      <a:pt x="1818" y="3279"/>
                    </a:lnTo>
                    <a:lnTo>
                      <a:pt x="1790" y="3235"/>
                    </a:lnTo>
                    <a:lnTo>
                      <a:pt x="1761" y="3189"/>
                    </a:lnTo>
                    <a:lnTo>
                      <a:pt x="1732" y="3144"/>
                    </a:lnTo>
                    <a:lnTo>
                      <a:pt x="1723" y="3122"/>
                    </a:lnTo>
                    <a:lnTo>
                      <a:pt x="1712" y="3100"/>
                    </a:lnTo>
                    <a:lnTo>
                      <a:pt x="1699" y="3078"/>
                    </a:lnTo>
                    <a:lnTo>
                      <a:pt x="1687" y="3057"/>
                    </a:lnTo>
                    <a:lnTo>
                      <a:pt x="1674" y="3036"/>
                    </a:lnTo>
                    <a:lnTo>
                      <a:pt x="1661" y="3014"/>
                    </a:lnTo>
                    <a:lnTo>
                      <a:pt x="1650" y="2992"/>
                    </a:lnTo>
                    <a:lnTo>
                      <a:pt x="1642" y="2970"/>
                    </a:lnTo>
                    <a:lnTo>
                      <a:pt x="1605" y="2922"/>
                    </a:lnTo>
                    <a:lnTo>
                      <a:pt x="1569" y="2874"/>
                    </a:lnTo>
                    <a:lnTo>
                      <a:pt x="1533" y="2825"/>
                    </a:lnTo>
                    <a:lnTo>
                      <a:pt x="1500" y="2777"/>
                    </a:lnTo>
                    <a:lnTo>
                      <a:pt x="1465" y="2727"/>
                    </a:lnTo>
                    <a:lnTo>
                      <a:pt x="1433" y="2678"/>
                    </a:lnTo>
                    <a:lnTo>
                      <a:pt x="1403" y="2628"/>
                    </a:lnTo>
                    <a:lnTo>
                      <a:pt x="1375" y="2577"/>
                    </a:lnTo>
                    <a:lnTo>
                      <a:pt x="1335" y="2514"/>
                    </a:lnTo>
                    <a:lnTo>
                      <a:pt x="1300" y="2452"/>
                    </a:lnTo>
                    <a:lnTo>
                      <a:pt x="1265" y="2388"/>
                    </a:lnTo>
                    <a:lnTo>
                      <a:pt x="1232" y="2325"/>
                    </a:lnTo>
                    <a:lnTo>
                      <a:pt x="1198" y="2261"/>
                    </a:lnTo>
                    <a:lnTo>
                      <a:pt x="1165" y="2198"/>
                    </a:lnTo>
                    <a:lnTo>
                      <a:pt x="1129" y="2134"/>
                    </a:lnTo>
                    <a:lnTo>
                      <a:pt x="1093" y="2073"/>
                    </a:lnTo>
                    <a:lnTo>
                      <a:pt x="1059" y="2015"/>
                    </a:lnTo>
                    <a:lnTo>
                      <a:pt x="1029" y="1958"/>
                    </a:lnTo>
                    <a:lnTo>
                      <a:pt x="999" y="1900"/>
                    </a:lnTo>
                    <a:lnTo>
                      <a:pt x="972" y="1842"/>
                    </a:lnTo>
                    <a:lnTo>
                      <a:pt x="943" y="1783"/>
                    </a:lnTo>
                    <a:lnTo>
                      <a:pt x="916" y="1726"/>
                    </a:lnTo>
                    <a:lnTo>
                      <a:pt x="889" y="1667"/>
                    </a:lnTo>
                    <a:lnTo>
                      <a:pt x="861" y="1609"/>
                    </a:lnTo>
                    <a:lnTo>
                      <a:pt x="840" y="1589"/>
                    </a:lnTo>
                    <a:lnTo>
                      <a:pt x="804" y="1539"/>
                    </a:lnTo>
                    <a:lnTo>
                      <a:pt x="756" y="1466"/>
                    </a:lnTo>
                    <a:lnTo>
                      <a:pt x="704" y="1379"/>
                    </a:lnTo>
                    <a:lnTo>
                      <a:pt x="647" y="1283"/>
                    </a:lnTo>
                    <a:lnTo>
                      <a:pt x="595" y="1188"/>
                    </a:lnTo>
                    <a:lnTo>
                      <a:pt x="548" y="1100"/>
                    </a:lnTo>
                    <a:lnTo>
                      <a:pt x="512" y="1028"/>
                    </a:lnTo>
                    <a:lnTo>
                      <a:pt x="483" y="994"/>
                    </a:lnTo>
                    <a:lnTo>
                      <a:pt x="457" y="965"/>
                    </a:lnTo>
                    <a:lnTo>
                      <a:pt x="433" y="938"/>
                    </a:lnTo>
                    <a:lnTo>
                      <a:pt x="411" y="911"/>
                    </a:lnTo>
                    <a:lnTo>
                      <a:pt x="391" y="882"/>
                    </a:lnTo>
                    <a:lnTo>
                      <a:pt x="374" y="853"/>
                    </a:lnTo>
                    <a:lnTo>
                      <a:pt x="358" y="818"/>
                    </a:lnTo>
                    <a:lnTo>
                      <a:pt x="346" y="780"/>
                    </a:lnTo>
                    <a:lnTo>
                      <a:pt x="331" y="743"/>
                    </a:lnTo>
                    <a:lnTo>
                      <a:pt x="312" y="705"/>
                    </a:lnTo>
                    <a:lnTo>
                      <a:pt x="293" y="664"/>
                    </a:lnTo>
                    <a:lnTo>
                      <a:pt x="273" y="623"/>
                    </a:lnTo>
                    <a:lnTo>
                      <a:pt x="251" y="582"/>
                    </a:lnTo>
                    <a:lnTo>
                      <a:pt x="233" y="542"/>
                    </a:lnTo>
                    <a:lnTo>
                      <a:pt x="217" y="503"/>
                    </a:lnTo>
                    <a:lnTo>
                      <a:pt x="204" y="468"/>
                    </a:lnTo>
                    <a:lnTo>
                      <a:pt x="177" y="417"/>
                    </a:lnTo>
                    <a:lnTo>
                      <a:pt x="151" y="368"/>
                    </a:lnTo>
                    <a:lnTo>
                      <a:pt x="124" y="319"/>
                    </a:lnTo>
                    <a:lnTo>
                      <a:pt x="99" y="270"/>
                    </a:lnTo>
                    <a:lnTo>
                      <a:pt x="74" y="219"/>
                    </a:lnTo>
                    <a:lnTo>
                      <a:pt x="53" y="168"/>
                    </a:lnTo>
                    <a:lnTo>
                      <a:pt x="35" y="116"/>
                    </a:lnTo>
                    <a:lnTo>
                      <a:pt x="22" y="62"/>
                    </a:lnTo>
                    <a:lnTo>
                      <a:pt x="15" y="55"/>
                    </a:lnTo>
                    <a:lnTo>
                      <a:pt x="12" y="47"/>
                    </a:lnTo>
                    <a:lnTo>
                      <a:pt x="9" y="40"/>
                    </a:lnTo>
                    <a:lnTo>
                      <a:pt x="8" y="32"/>
                    </a:lnTo>
                    <a:lnTo>
                      <a:pt x="5" y="23"/>
                    </a:lnTo>
                    <a:lnTo>
                      <a:pt x="3" y="16"/>
                    </a:lnTo>
                    <a:lnTo>
                      <a:pt x="1" y="7"/>
                    </a:lnTo>
                    <a:lnTo>
                      <a:pt x="0" y="0"/>
                    </a:lnTo>
                    <a:lnTo>
                      <a:pt x="7" y="9"/>
                    </a:lnTo>
                    <a:lnTo>
                      <a:pt x="13" y="19"/>
                    </a:lnTo>
                    <a:lnTo>
                      <a:pt x="19" y="30"/>
                    </a:lnTo>
                    <a:lnTo>
                      <a:pt x="25" y="41"/>
                    </a:lnTo>
                    <a:lnTo>
                      <a:pt x="31" y="52"/>
                    </a:lnTo>
                    <a:lnTo>
                      <a:pt x="36" y="62"/>
                    </a:lnTo>
                    <a:lnTo>
                      <a:pt x="43" y="73"/>
                    </a:lnTo>
                    <a:lnTo>
                      <a:pt x="50" y="85"/>
                    </a:lnTo>
                    <a:lnTo>
                      <a:pt x="51" y="89"/>
                    </a:lnTo>
                    <a:lnTo>
                      <a:pt x="53" y="93"/>
                    </a:lnTo>
                    <a:lnTo>
                      <a:pt x="63" y="112"/>
                    </a:lnTo>
                    <a:lnTo>
                      <a:pt x="73" y="133"/>
                    </a:lnTo>
                    <a:lnTo>
                      <a:pt x="83" y="154"/>
                    </a:lnTo>
                    <a:lnTo>
                      <a:pt x="94" y="174"/>
                    </a:lnTo>
                    <a:lnTo>
                      <a:pt x="103" y="195"/>
                    </a:lnTo>
                    <a:lnTo>
                      <a:pt x="114" y="216"/>
                    </a:lnTo>
                    <a:lnTo>
                      <a:pt x="125" y="236"/>
                    </a:lnTo>
                    <a:lnTo>
                      <a:pt x="138" y="257"/>
                    </a:lnTo>
                    <a:close/>
                  </a:path>
                </a:pathLst>
              </a:custGeom>
              <a:solidFill>
                <a:srgbClr val="F41A00"/>
              </a:solidFill>
              <a:ln w="9525">
                <a:noFill/>
                <a:round/>
                <a:headEnd/>
                <a:tailEnd/>
              </a:ln>
            </p:spPr>
            <p:txBody>
              <a:bodyPr/>
              <a:lstStyle/>
              <a:p>
                <a:pPr>
                  <a:defRPr/>
                </a:pPr>
                <a:endParaRPr lang="en-US" dirty="0">
                  <a:cs typeface="+mn-cs"/>
                </a:endParaRPr>
              </a:p>
            </p:txBody>
          </p:sp>
          <p:sp>
            <p:nvSpPr>
              <p:cNvPr id="59" name="Freeform 1105"/>
              <p:cNvSpPr>
                <a:spLocks/>
              </p:cNvSpPr>
              <p:nvPr/>
            </p:nvSpPr>
            <p:spPr bwMode="auto">
              <a:xfrm>
                <a:off x="4126" y="2273"/>
                <a:ext cx="653" cy="1268"/>
              </a:xfrm>
              <a:custGeom>
                <a:avLst/>
                <a:gdLst>
                  <a:gd name="T0" fmla="*/ 0 w 2613"/>
                  <a:gd name="T1" fmla="*/ 0 h 5071"/>
                  <a:gd name="T2" fmla="*/ 0 w 2613"/>
                  <a:gd name="T3" fmla="*/ 0 h 5071"/>
                  <a:gd name="T4" fmla="*/ 0 w 2613"/>
                  <a:gd name="T5" fmla="*/ 0 h 5071"/>
                  <a:gd name="T6" fmla="*/ 0 w 2613"/>
                  <a:gd name="T7" fmla="*/ 0 h 5071"/>
                  <a:gd name="T8" fmla="*/ 0 w 2613"/>
                  <a:gd name="T9" fmla="*/ 0 h 5071"/>
                  <a:gd name="T10" fmla="*/ 0 w 2613"/>
                  <a:gd name="T11" fmla="*/ 0 h 5071"/>
                  <a:gd name="T12" fmla="*/ 0 w 2613"/>
                  <a:gd name="T13" fmla="*/ 0 h 5071"/>
                  <a:gd name="T14" fmla="*/ 0 w 2613"/>
                  <a:gd name="T15" fmla="*/ 0 h 5071"/>
                  <a:gd name="T16" fmla="*/ 0 w 2613"/>
                  <a:gd name="T17" fmla="*/ 0 h 5071"/>
                  <a:gd name="T18" fmla="*/ 0 w 2613"/>
                  <a:gd name="T19" fmla="*/ 0 h 5071"/>
                  <a:gd name="T20" fmla="*/ 0 w 2613"/>
                  <a:gd name="T21" fmla="*/ 0 h 5071"/>
                  <a:gd name="T22" fmla="*/ 0 w 2613"/>
                  <a:gd name="T23" fmla="*/ 0 h 5071"/>
                  <a:gd name="T24" fmla="*/ 0 w 2613"/>
                  <a:gd name="T25" fmla="*/ 0 h 5071"/>
                  <a:gd name="T26" fmla="*/ 0 w 2613"/>
                  <a:gd name="T27" fmla="*/ 0 h 5071"/>
                  <a:gd name="T28" fmla="*/ 0 w 2613"/>
                  <a:gd name="T29" fmla="*/ 0 h 5071"/>
                  <a:gd name="T30" fmla="*/ 0 w 2613"/>
                  <a:gd name="T31" fmla="*/ 0 h 5071"/>
                  <a:gd name="T32" fmla="*/ 0 w 2613"/>
                  <a:gd name="T33" fmla="*/ 0 h 5071"/>
                  <a:gd name="T34" fmla="*/ 0 w 2613"/>
                  <a:gd name="T35" fmla="*/ 0 h 5071"/>
                  <a:gd name="T36" fmla="*/ 0 w 2613"/>
                  <a:gd name="T37" fmla="*/ 0 h 5071"/>
                  <a:gd name="T38" fmla="*/ 0 w 2613"/>
                  <a:gd name="T39" fmla="*/ 0 h 5071"/>
                  <a:gd name="T40" fmla="*/ 0 w 2613"/>
                  <a:gd name="T41" fmla="*/ 0 h 5071"/>
                  <a:gd name="T42" fmla="*/ 0 w 2613"/>
                  <a:gd name="T43" fmla="*/ 0 h 5071"/>
                  <a:gd name="T44" fmla="*/ 0 w 2613"/>
                  <a:gd name="T45" fmla="*/ 0 h 5071"/>
                  <a:gd name="T46" fmla="*/ 0 w 2613"/>
                  <a:gd name="T47" fmla="*/ 0 h 5071"/>
                  <a:gd name="T48" fmla="*/ 0 w 2613"/>
                  <a:gd name="T49" fmla="*/ 0 h 5071"/>
                  <a:gd name="T50" fmla="*/ 0 w 2613"/>
                  <a:gd name="T51" fmla="*/ 0 h 5071"/>
                  <a:gd name="T52" fmla="*/ 0 w 2613"/>
                  <a:gd name="T53" fmla="*/ 0 h 5071"/>
                  <a:gd name="T54" fmla="*/ 0 w 2613"/>
                  <a:gd name="T55" fmla="*/ 0 h 5071"/>
                  <a:gd name="T56" fmla="*/ 0 w 2613"/>
                  <a:gd name="T57" fmla="*/ 0 h 5071"/>
                  <a:gd name="T58" fmla="*/ 0 w 2613"/>
                  <a:gd name="T59" fmla="*/ 0 h 5071"/>
                  <a:gd name="T60" fmla="*/ 0 w 2613"/>
                  <a:gd name="T61" fmla="*/ 0 h 5071"/>
                  <a:gd name="T62" fmla="*/ 0 w 2613"/>
                  <a:gd name="T63" fmla="*/ 0 h 5071"/>
                  <a:gd name="T64" fmla="*/ 0 w 2613"/>
                  <a:gd name="T65" fmla="*/ 0 h 5071"/>
                  <a:gd name="T66" fmla="*/ 0 w 2613"/>
                  <a:gd name="T67" fmla="*/ 0 h 5071"/>
                  <a:gd name="T68" fmla="*/ 0 w 2613"/>
                  <a:gd name="T69" fmla="*/ 0 h 5071"/>
                  <a:gd name="T70" fmla="*/ 0 w 2613"/>
                  <a:gd name="T71" fmla="*/ 0 h 5071"/>
                  <a:gd name="T72" fmla="*/ 0 w 2613"/>
                  <a:gd name="T73" fmla="*/ 0 h 5071"/>
                  <a:gd name="T74" fmla="*/ 0 w 2613"/>
                  <a:gd name="T75" fmla="*/ 0 h 5071"/>
                  <a:gd name="T76" fmla="*/ 0 w 2613"/>
                  <a:gd name="T77" fmla="*/ 0 h 5071"/>
                  <a:gd name="T78" fmla="*/ 0 w 2613"/>
                  <a:gd name="T79" fmla="*/ 0 h 5071"/>
                  <a:gd name="T80" fmla="*/ 0 w 2613"/>
                  <a:gd name="T81" fmla="*/ 0 h 5071"/>
                  <a:gd name="T82" fmla="*/ 0 w 2613"/>
                  <a:gd name="T83" fmla="*/ 0 h 5071"/>
                  <a:gd name="T84" fmla="*/ 0 w 2613"/>
                  <a:gd name="T85" fmla="*/ 0 h 5071"/>
                  <a:gd name="T86" fmla="*/ 0 w 2613"/>
                  <a:gd name="T87" fmla="*/ 0 h 5071"/>
                  <a:gd name="T88" fmla="*/ 0 w 2613"/>
                  <a:gd name="T89" fmla="*/ 0 h 5071"/>
                  <a:gd name="T90" fmla="*/ 0 w 2613"/>
                  <a:gd name="T91" fmla="*/ 0 h 5071"/>
                  <a:gd name="T92" fmla="*/ 0 w 2613"/>
                  <a:gd name="T93" fmla="*/ 0 h 5071"/>
                  <a:gd name="T94" fmla="*/ 0 w 2613"/>
                  <a:gd name="T95" fmla="*/ 0 h 5071"/>
                  <a:gd name="T96" fmla="*/ 0 w 2613"/>
                  <a:gd name="T97" fmla="*/ 0 h 5071"/>
                  <a:gd name="T98" fmla="*/ 0 w 2613"/>
                  <a:gd name="T99" fmla="*/ 0 h 5071"/>
                  <a:gd name="T100" fmla="*/ 0 w 2613"/>
                  <a:gd name="T101" fmla="*/ 0 h 5071"/>
                  <a:gd name="T102" fmla="*/ 0 w 2613"/>
                  <a:gd name="T103" fmla="*/ 0 h 5071"/>
                  <a:gd name="T104" fmla="*/ 0 w 2613"/>
                  <a:gd name="T105" fmla="*/ 0 h 50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13"/>
                  <a:gd name="T160" fmla="*/ 0 h 5071"/>
                  <a:gd name="T161" fmla="*/ 2613 w 2613"/>
                  <a:gd name="T162" fmla="*/ 5071 h 507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13" h="5071">
                    <a:moveTo>
                      <a:pt x="165" y="321"/>
                    </a:moveTo>
                    <a:lnTo>
                      <a:pt x="173" y="347"/>
                    </a:lnTo>
                    <a:lnTo>
                      <a:pt x="184" y="373"/>
                    </a:lnTo>
                    <a:lnTo>
                      <a:pt x="197" y="398"/>
                    </a:lnTo>
                    <a:lnTo>
                      <a:pt x="210" y="424"/>
                    </a:lnTo>
                    <a:lnTo>
                      <a:pt x="222" y="448"/>
                    </a:lnTo>
                    <a:lnTo>
                      <a:pt x="234" y="474"/>
                    </a:lnTo>
                    <a:lnTo>
                      <a:pt x="245" y="499"/>
                    </a:lnTo>
                    <a:lnTo>
                      <a:pt x="254" y="528"/>
                    </a:lnTo>
                    <a:lnTo>
                      <a:pt x="297" y="590"/>
                    </a:lnTo>
                    <a:lnTo>
                      <a:pt x="340" y="654"/>
                    </a:lnTo>
                    <a:lnTo>
                      <a:pt x="384" y="719"/>
                    </a:lnTo>
                    <a:lnTo>
                      <a:pt x="427" y="784"/>
                    </a:lnTo>
                    <a:lnTo>
                      <a:pt x="472" y="847"/>
                    </a:lnTo>
                    <a:lnTo>
                      <a:pt x="520" y="909"/>
                    </a:lnTo>
                    <a:lnTo>
                      <a:pt x="571" y="967"/>
                    </a:lnTo>
                    <a:lnTo>
                      <a:pt x="626" y="1022"/>
                    </a:lnTo>
                    <a:lnTo>
                      <a:pt x="655" y="1054"/>
                    </a:lnTo>
                    <a:lnTo>
                      <a:pt x="681" y="1087"/>
                    </a:lnTo>
                    <a:lnTo>
                      <a:pt x="704" y="1122"/>
                    </a:lnTo>
                    <a:lnTo>
                      <a:pt x="727" y="1159"/>
                    </a:lnTo>
                    <a:lnTo>
                      <a:pt x="749" y="1195"/>
                    </a:lnTo>
                    <a:lnTo>
                      <a:pt x="773" y="1232"/>
                    </a:lnTo>
                    <a:lnTo>
                      <a:pt x="796" y="1268"/>
                    </a:lnTo>
                    <a:lnTo>
                      <a:pt x="823" y="1304"/>
                    </a:lnTo>
                    <a:lnTo>
                      <a:pt x="844" y="1355"/>
                    </a:lnTo>
                    <a:lnTo>
                      <a:pt x="868" y="1405"/>
                    </a:lnTo>
                    <a:lnTo>
                      <a:pt x="894" y="1454"/>
                    </a:lnTo>
                    <a:lnTo>
                      <a:pt x="923" y="1503"/>
                    </a:lnTo>
                    <a:lnTo>
                      <a:pt x="953" y="1549"/>
                    </a:lnTo>
                    <a:lnTo>
                      <a:pt x="986" y="1596"/>
                    </a:lnTo>
                    <a:lnTo>
                      <a:pt x="1020" y="1642"/>
                    </a:lnTo>
                    <a:lnTo>
                      <a:pt x="1057" y="1689"/>
                    </a:lnTo>
                    <a:lnTo>
                      <a:pt x="1098" y="1752"/>
                    </a:lnTo>
                    <a:lnTo>
                      <a:pt x="1146" y="1815"/>
                    </a:lnTo>
                    <a:lnTo>
                      <a:pt x="1195" y="1875"/>
                    </a:lnTo>
                    <a:lnTo>
                      <a:pt x="1248" y="1935"/>
                    </a:lnTo>
                    <a:lnTo>
                      <a:pt x="1300" y="1995"/>
                    </a:lnTo>
                    <a:lnTo>
                      <a:pt x="1354" y="2055"/>
                    </a:lnTo>
                    <a:lnTo>
                      <a:pt x="1406" y="2116"/>
                    </a:lnTo>
                    <a:lnTo>
                      <a:pt x="1457" y="2179"/>
                    </a:lnTo>
                    <a:lnTo>
                      <a:pt x="1469" y="2185"/>
                    </a:lnTo>
                    <a:lnTo>
                      <a:pt x="1482" y="2196"/>
                    </a:lnTo>
                    <a:lnTo>
                      <a:pt x="1493" y="2207"/>
                    </a:lnTo>
                    <a:lnTo>
                      <a:pt x="1505" y="2220"/>
                    </a:lnTo>
                    <a:lnTo>
                      <a:pt x="1515" y="2233"/>
                    </a:lnTo>
                    <a:lnTo>
                      <a:pt x="1524" y="2246"/>
                    </a:lnTo>
                    <a:lnTo>
                      <a:pt x="1534" y="2259"/>
                    </a:lnTo>
                    <a:lnTo>
                      <a:pt x="1545" y="2274"/>
                    </a:lnTo>
                    <a:lnTo>
                      <a:pt x="1565" y="2303"/>
                    </a:lnTo>
                    <a:lnTo>
                      <a:pt x="1585" y="2334"/>
                    </a:lnTo>
                    <a:lnTo>
                      <a:pt x="1605" y="2365"/>
                    </a:lnTo>
                    <a:lnTo>
                      <a:pt x="1626" y="2396"/>
                    </a:lnTo>
                    <a:lnTo>
                      <a:pt x="1645" y="2426"/>
                    </a:lnTo>
                    <a:lnTo>
                      <a:pt x="1667" y="2456"/>
                    </a:lnTo>
                    <a:lnTo>
                      <a:pt x="1688" y="2484"/>
                    </a:lnTo>
                    <a:lnTo>
                      <a:pt x="1709" y="2514"/>
                    </a:lnTo>
                    <a:lnTo>
                      <a:pt x="1721" y="2513"/>
                    </a:lnTo>
                    <a:lnTo>
                      <a:pt x="1731" y="2515"/>
                    </a:lnTo>
                    <a:lnTo>
                      <a:pt x="1738" y="2520"/>
                    </a:lnTo>
                    <a:lnTo>
                      <a:pt x="1744" y="2530"/>
                    </a:lnTo>
                    <a:lnTo>
                      <a:pt x="1748" y="2539"/>
                    </a:lnTo>
                    <a:lnTo>
                      <a:pt x="1754" y="2549"/>
                    </a:lnTo>
                    <a:lnTo>
                      <a:pt x="1758" y="2557"/>
                    </a:lnTo>
                    <a:lnTo>
                      <a:pt x="1765" y="2566"/>
                    </a:lnTo>
                    <a:lnTo>
                      <a:pt x="1766" y="2586"/>
                    </a:lnTo>
                    <a:lnTo>
                      <a:pt x="1769" y="2606"/>
                    </a:lnTo>
                    <a:lnTo>
                      <a:pt x="1772" y="2626"/>
                    </a:lnTo>
                    <a:lnTo>
                      <a:pt x="1777" y="2645"/>
                    </a:lnTo>
                    <a:lnTo>
                      <a:pt x="1781" y="2663"/>
                    </a:lnTo>
                    <a:lnTo>
                      <a:pt x="1788" y="2680"/>
                    </a:lnTo>
                    <a:lnTo>
                      <a:pt x="1796" y="2696"/>
                    </a:lnTo>
                    <a:lnTo>
                      <a:pt x="1808" y="2713"/>
                    </a:lnTo>
                    <a:lnTo>
                      <a:pt x="1814" y="2724"/>
                    </a:lnTo>
                    <a:lnTo>
                      <a:pt x="1821" y="2734"/>
                    </a:lnTo>
                    <a:lnTo>
                      <a:pt x="1829" y="2745"/>
                    </a:lnTo>
                    <a:lnTo>
                      <a:pt x="1839" y="2756"/>
                    </a:lnTo>
                    <a:lnTo>
                      <a:pt x="1847" y="2767"/>
                    </a:lnTo>
                    <a:lnTo>
                      <a:pt x="1857" y="2778"/>
                    </a:lnTo>
                    <a:lnTo>
                      <a:pt x="1865" y="2789"/>
                    </a:lnTo>
                    <a:lnTo>
                      <a:pt x="1872" y="2802"/>
                    </a:lnTo>
                    <a:lnTo>
                      <a:pt x="1917" y="2887"/>
                    </a:lnTo>
                    <a:lnTo>
                      <a:pt x="1960" y="2974"/>
                    </a:lnTo>
                    <a:lnTo>
                      <a:pt x="2003" y="3061"/>
                    </a:lnTo>
                    <a:lnTo>
                      <a:pt x="2043" y="3150"/>
                    </a:lnTo>
                    <a:lnTo>
                      <a:pt x="2079" y="3238"/>
                    </a:lnTo>
                    <a:lnTo>
                      <a:pt x="2113" y="3330"/>
                    </a:lnTo>
                    <a:lnTo>
                      <a:pt x="2141" y="3422"/>
                    </a:lnTo>
                    <a:lnTo>
                      <a:pt x="2166" y="3517"/>
                    </a:lnTo>
                    <a:lnTo>
                      <a:pt x="2206" y="3639"/>
                    </a:lnTo>
                    <a:lnTo>
                      <a:pt x="2241" y="3765"/>
                    </a:lnTo>
                    <a:lnTo>
                      <a:pt x="2271" y="3891"/>
                    </a:lnTo>
                    <a:lnTo>
                      <a:pt x="2300" y="4021"/>
                    </a:lnTo>
                    <a:lnTo>
                      <a:pt x="2326" y="4148"/>
                    </a:lnTo>
                    <a:lnTo>
                      <a:pt x="2356" y="4276"/>
                    </a:lnTo>
                    <a:lnTo>
                      <a:pt x="2391" y="4401"/>
                    </a:lnTo>
                    <a:lnTo>
                      <a:pt x="2433" y="4525"/>
                    </a:lnTo>
                    <a:lnTo>
                      <a:pt x="2445" y="4567"/>
                    </a:lnTo>
                    <a:lnTo>
                      <a:pt x="2458" y="4611"/>
                    </a:lnTo>
                    <a:lnTo>
                      <a:pt x="2473" y="4653"/>
                    </a:lnTo>
                    <a:lnTo>
                      <a:pt x="2488" y="4698"/>
                    </a:lnTo>
                    <a:lnTo>
                      <a:pt x="2501" y="4740"/>
                    </a:lnTo>
                    <a:lnTo>
                      <a:pt x="2515" y="4785"/>
                    </a:lnTo>
                    <a:lnTo>
                      <a:pt x="2527" y="4830"/>
                    </a:lnTo>
                    <a:lnTo>
                      <a:pt x="2537" y="4876"/>
                    </a:lnTo>
                    <a:lnTo>
                      <a:pt x="2613" y="5071"/>
                    </a:lnTo>
                    <a:lnTo>
                      <a:pt x="2585" y="5022"/>
                    </a:lnTo>
                    <a:lnTo>
                      <a:pt x="2556" y="4975"/>
                    </a:lnTo>
                    <a:lnTo>
                      <a:pt x="2527" y="4927"/>
                    </a:lnTo>
                    <a:lnTo>
                      <a:pt x="2498" y="4880"/>
                    </a:lnTo>
                    <a:lnTo>
                      <a:pt x="2469" y="4832"/>
                    </a:lnTo>
                    <a:lnTo>
                      <a:pt x="2444" y="4784"/>
                    </a:lnTo>
                    <a:lnTo>
                      <a:pt x="2421" y="4733"/>
                    </a:lnTo>
                    <a:lnTo>
                      <a:pt x="2404" y="4681"/>
                    </a:lnTo>
                    <a:lnTo>
                      <a:pt x="2369" y="4589"/>
                    </a:lnTo>
                    <a:lnTo>
                      <a:pt x="2344" y="4496"/>
                    </a:lnTo>
                    <a:lnTo>
                      <a:pt x="2325" y="4402"/>
                    </a:lnTo>
                    <a:lnTo>
                      <a:pt x="2307" y="4310"/>
                    </a:lnTo>
                    <a:lnTo>
                      <a:pt x="2288" y="4215"/>
                    </a:lnTo>
                    <a:lnTo>
                      <a:pt x="2265" y="4124"/>
                    </a:lnTo>
                    <a:lnTo>
                      <a:pt x="2233" y="4032"/>
                    </a:lnTo>
                    <a:lnTo>
                      <a:pt x="2193" y="3946"/>
                    </a:lnTo>
                    <a:lnTo>
                      <a:pt x="2174" y="3895"/>
                    </a:lnTo>
                    <a:lnTo>
                      <a:pt x="2155" y="3847"/>
                    </a:lnTo>
                    <a:lnTo>
                      <a:pt x="2134" y="3798"/>
                    </a:lnTo>
                    <a:lnTo>
                      <a:pt x="2115" y="3750"/>
                    </a:lnTo>
                    <a:lnTo>
                      <a:pt x="2092" y="3701"/>
                    </a:lnTo>
                    <a:lnTo>
                      <a:pt x="2069" y="3654"/>
                    </a:lnTo>
                    <a:lnTo>
                      <a:pt x="2043" y="3607"/>
                    </a:lnTo>
                    <a:lnTo>
                      <a:pt x="2015" y="3563"/>
                    </a:lnTo>
                    <a:lnTo>
                      <a:pt x="1981" y="3518"/>
                    </a:lnTo>
                    <a:lnTo>
                      <a:pt x="1951" y="3475"/>
                    </a:lnTo>
                    <a:lnTo>
                      <a:pt x="1921" y="3430"/>
                    </a:lnTo>
                    <a:lnTo>
                      <a:pt x="1893" y="3386"/>
                    </a:lnTo>
                    <a:lnTo>
                      <a:pt x="1865" y="3340"/>
                    </a:lnTo>
                    <a:lnTo>
                      <a:pt x="1836" y="3295"/>
                    </a:lnTo>
                    <a:lnTo>
                      <a:pt x="1807" y="3250"/>
                    </a:lnTo>
                    <a:lnTo>
                      <a:pt x="1779" y="3205"/>
                    </a:lnTo>
                    <a:lnTo>
                      <a:pt x="1769" y="3182"/>
                    </a:lnTo>
                    <a:lnTo>
                      <a:pt x="1758" y="3161"/>
                    </a:lnTo>
                    <a:lnTo>
                      <a:pt x="1745" y="3139"/>
                    </a:lnTo>
                    <a:lnTo>
                      <a:pt x="1733" y="3118"/>
                    </a:lnTo>
                    <a:lnTo>
                      <a:pt x="1720" y="3096"/>
                    </a:lnTo>
                    <a:lnTo>
                      <a:pt x="1707" y="3075"/>
                    </a:lnTo>
                    <a:lnTo>
                      <a:pt x="1696" y="3053"/>
                    </a:lnTo>
                    <a:lnTo>
                      <a:pt x="1689" y="3031"/>
                    </a:lnTo>
                    <a:lnTo>
                      <a:pt x="1652" y="2982"/>
                    </a:lnTo>
                    <a:lnTo>
                      <a:pt x="1616" y="2934"/>
                    </a:lnTo>
                    <a:lnTo>
                      <a:pt x="1580" y="2886"/>
                    </a:lnTo>
                    <a:lnTo>
                      <a:pt x="1546" y="2838"/>
                    </a:lnTo>
                    <a:lnTo>
                      <a:pt x="1511" y="2788"/>
                    </a:lnTo>
                    <a:lnTo>
                      <a:pt x="1480" y="2739"/>
                    </a:lnTo>
                    <a:lnTo>
                      <a:pt x="1449" y="2689"/>
                    </a:lnTo>
                    <a:lnTo>
                      <a:pt x="1421" y="2638"/>
                    </a:lnTo>
                    <a:lnTo>
                      <a:pt x="1382" y="2575"/>
                    </a:lnTo>
                    <a:lnTo>
                      <a:pt x="1346" y="2513"/>
                    </a:lnTo>
                    <a:lnTo>
                      <a:pt x="1311" y="2449"/>
                    </a:lnTo>
                    <a:lnTo>
                      <a:pt x="1279" y="2385"/>
                    </a:lnTo>
                    <a:lnTo>
                      <a:pt x="1245" y="2321"/>
                    </a:lnTo>
                    <a:lnTo>
                      <a:pt x="1211" y="2258"/>
                    </a:lnTo>
                    <a:lnTo>
                      <a:pt x="1175" y="2195"/>
                    </a:lnTo>
                    <a:lnTo>
                      <a:pt x="1140" y="2133"/>
                    </a:lnTo>
                    <a:lnTo>
                      <a:pt x="1106" y="2076"/>
                    </a:lnTo>
                    <a:lnTo>
                      <a:pt x="1075" y="2019"/>
                    </a:lnTo>
                    <a:lnTo>
                      <a:pt x="1046" y="1960"/>
                    </a:lnTo>
                    <a:lnTo>
                      <a:pt x="1019" y="1903"/>
                    </a:lnTo>
                    <a:lnTo>
                      <a:pt x="989" y="1844"/>
                    </a:lnTo>
                    <a:lnTo>
                      <a:pt x="962" y="1786"/>
                    </a:lnTo>
                    <a:lnTo>
                      <a:pt x="935" y="1728"/>
                    </a:lnTo>
                    <a:lnTo>
                      <a:pt x="908" y="1670"/>
                    </a:lnTo>
                    <a:lnTo>
                      <a:pt x="884" y="1646"/>
                    </a:lnTo>
                    <a:lnTo>
                      <a:pt x="844" y="1590"/>
                    </a:lnTo>
                    <a:lnTo>
                      <a:pt x="789" y="1505"/>
                    </a:lnTo>
                    <a:lnTo>
                      <a:pt x="730" y="1405"/>
                    </a:lnTo>
                    <a:lnTo>
                      <a:pt x="664" y="1294"/>
                    </a:lnTo>
                    <a:lnTo>
                      <a:pt x="603" y="1185"/>
                    </a:lnTo>
                    <a:lnTo>
                      <a:pt x="549" y="1084"/>
                    </a:lnTo>
                    <a:lnTo>
                      <a:pt x="509" y="1002"/>
                    </a:lnTo>
                    <a:lnTo>
                      <a:pt x="475" y="962"/>
                    </a:lnTo>
                    <a:lnTo>
                      <a:pt x="445" y="930"/>
                    </a:lnTo>
                    <a:lnTo>
                      <a:pt x="416" y="898"/>
                    </a:lnTo>
                    <a:lnTo>
                      <a:pt x="391" y="868"/>
                    </a:lnTo>
                    <a:lnTo>
                      <a:pt x="368" y="835"/>
                    </a:lnTo>
                    <a:lnTo>
                      <a:pt x="348" y="800"/>
                    </a:lnTo>
                    <a:lnTo>
                      <a:pt x="329" y="761"/>
                    </a:lnTo>
                    <a:lnTo>
                      <a:pt x="314" y="716"/>
                    </a:lnTo>
                    <a:lnTo>
                      <a:pt x="301" y="685"/>
                    </a:lnTo>
                    <a:lnTo>
                      <a:pt x="286" y="653"/>
                    </a:lnTo>
                    <a:lnTo>
                      <a:pt x="267" y="617"/>
                    </a:lnTo>
                    <a:lnTo>
                      <a:pt x="250" y="582"/>
                    </a:lnTo>
                    <a:lnTo>
                      <a:pt x="232" y="545"/>
                    </a:lnTo>
                    <a:lnTo>
                      <a:pt x="215" y="510"/>
                    </a:lnTo>
                    <a:lnTo>
                      <a:pt x="201" y="476"/>
                    </a:lnTo>
                    <a:lnTo>
                      <a:pt x="192" y="447"/>
                    </a:lnTo>
                    <a:lnTo>
                      <a:pt x="167" y="395"/>
                    </a:lnTo>
                    <a:lnTo>
                      <a:pt x="142" y="345"/>
                    </a:lnTo>
                    <a:lnTo>
                      <a:pt x="116" y="295"/>
                    </a:lnTo>
                    <a:lnTo>
                      <a:pt x="91" y="245"/>
                    </a:lnTo>
                    <a:lnTo>
                      <a:pt x="66" y="193"/>
                    </a:lnTo>
                    <a:lnTo>
                      <a:pt x="45" y="142"/>
                    </a:lnTo>
                    <a:lnTo>
                      <a:pt x="26" y="88"/>
                    </a:lnTo>
                    <a:lnTo>
                      <a:pt x="14" y="35"/>
                    </a:lnTo>
                    <a:lnTo>
                      <a:pt x="5" y="26"/>
                    </a:lnTo>
                    <a:lnTo>
                      <a:pt x="3" y="18"/>
                    </a:lnTo>
                    <a:lnTo>
                      <a:pt x="1" y="9"/>
                    </a:lnTo>
                    <a:lnTo>
                      <a:pt x="0" y="0"/>
                    </a:lnTo>
                    <a:lnTo>
                      <a:pt x="22" y="37"/>
                    </a:lnTo>
                    <a:lnTo>
                      <a:pt x="42" y="76"/>
                    </a:lnTo>
                    <a:lnTo>
                      <a:pt x="62" y="117"/>
                    </a:lnTo>
                    <a:lnTo>
                      <a:pt x="83" y="158"/>
                    </a:lnTo>
                    <a:lnTo>
                      <a:pt x="101" y="198"/>
                    </a:lnTo>
                    <a:lnTo>
                      <a:pt x="121" y="239"/>
                    </a:lnTo>
                    <a:lnTo>
                      <a:pt x="141" y="280"/>
                    </a:lnTo>
                    <a:lnTo>
                      <a:pt x="165" y="321"/>
                    </a:lnTo>
                    <a:close/>
                  </a:path>
                </a:pathLst>
              </a:custGeom>
              <a:solidFill>
                <a:schemeClr val="tx2"/>
              </a:solidFill>
              <a:ln w="9525">
                <a:noFill/>
                <a:round/>
                <a:headEnd/>
                <a:tailEnd/>
              </a:ln>
            </p:spPr>
            <p:txBody>
              <a:bodyPr/>
              <a:lstStyle/>
              <a:p>
                <a:pPr>
                  <a:defRPr/>
                </a:pPr>
                <a:endParaRPr lang="en-US" dirty="0">
                  <a:cs typeface="+mn-cs"/>
                </a:endParaRPr>
              </a:p>
            </p:txBody>
          </p:sp>
          <p:sp>
            <p:nvSpPr>
              <p:cNvPr id="60" name="Freeform 1106"/>
              <p:cNvSpPr>
                <a:spLocks/>
              </p:cNvSpPr>
              <p:nvPr/>
            </p:nvSpPr>
            <p:spPr bwMode="auto">
              <a:xfrm>
                <a:off x="4109" y="2524"/>
                <a:ext cx="510" cy="1135"/>
              </a:xfrm>
              <a:custGeom>
                <a:avLst/>
                <a:gdLst>
                  <a:gd name="T0" fmla="*/ 0 w 2039"/>
                  <a:gd name="T1" fmla="*/ 0 h 4540"/>
                  <a:gd name="T2" fmla="*/ 0 w 2039"/>
                  <a:gd name="T3" fmla="*/ 0 h 4540"/>
                  <a:gd name="T4" fmla="*/ 0 w 2039"/>
                  <a:gd name="T5" fmla="*/ 0 h 4540"/>
                  <a:gd name="T6" fmla="*/ 0 w 2039"/>
                  <a:gd name="T7" fmla="*/ 0 h 4540"/>
                  <a:gd name="T8" fmla="*/ 0 w 2039"/>
                  <a:gd name="T9" fmla="*/ 0 h 4540"/>
                  <a:gd name="T10" fmla="*/ 0 w 2039"/>
                  <a:gd name="T11" fmla="*/ 0 h 4540"/>
                  <a:gd name="T12" fmla="*/ 0 w 2039"/>
                  <a:gd name="T13" fmla="*/ 0 h 4540"/>
                  <a:gd name="T14" fmla="*/ 0 w 2039"/>
                  <a:gd name="T15" fmla="*/ 0 h 4540"/>
                  <a:gd name="T16" fmla="*/ 0 w 2039"/>
                  <a:gd name="T17" fmla="*/ 0 h 4540"/>
                  <a:gd name="T18" fmla="*/ 0 w 2039"/>
                  <a:gd name="T19" fmla="*/ 0 h 4540"/>
                  <a:gd name="T20" fmla="*/ 0 w 2039"/>
                  <a:gd name="T21" fmla="*/ 0 h 4540"/>
                  <a:gd name="T22" fmla="*/ 0 w 2039"/>
                  <a:gd name="T23" fmla="*/ 0 h 4540"/>
                  <a:gd name="T24" fmla="*/ 0 w 2039"/>
                  <a:gd name="T25" fmla="*/ 0 h 4540"/>
                  <a:gd name="T26" fmla="*/ 0 w 2039"/>
                  <a:gd name="T27" fmla="*/ 0 h 4540"/>
                  <a:gd name="T28" fmla="*/ 0 w 2039"/>
                  <a:gd name="T29" fmla="*/ 0 h 4540"/>
                  <a:gd name="T30" fmla="*/ 0 w 2039"/>
                  <a:gd name="T31" fmla="*/ 0 h 4540"/>
                  <a:gd name="T32" fmla="*/ 0 w 2039"/>
                  <a:gd name="T33" fmla="*/ 0 h 4540"/>
                  <a:gd name="T34" fmla="*/ 0 w 2039"/>
                  <a:gd name="T35" fmla="*/ 0 h 4540"/>
                  <a:gd name="T36" fmla="*/ 0 w 2039"/>
                  <a:gd name="T37" fmla="*/ 0 h 4540"/>
                  <a:gd name="T38" fmla="*/ 0 w 2039"/>
                  <a:gd name="T39" fmla="*/ 0 h 4540"/>
                  <a:gd name="T40" fmla="*/ 0 w 2039"/>
                  <a:gd name="T41" fmla="*/ 0 h 4540"/>
                  <a:gd name="T42" fmla="*/ 0 w 2039"/>
                  <a:gd name="T43" fmla="*/ 0 h 4540"/>
                  <a:gd name="T44" fmla="*/ 0 w 2039"/>
                  <a:gd name="T45" fmla="*/ 0 h 4540"/>
                  <a:gd name="T46" fmla="*/ 0 w 2039"/>
                  <a:gd name="T47" fmla="*/ 0 h 4540"/>
                  <a:gd name="T48" fmla="*/ 0 w 2039"/>
                  <a:gd name="T49" fmla="*/ 0 h 4540"/>
                  <a:gd name="T50" fmla="*/ 0 w 2039"/>
                  <a:gd name="T51" fmla="*/ 0 h 4540"/>
                  <a:gd name="T52" fmla="*/ 0 w 2039"/>
                  <a:gd name="T53" fmla="*/ 0 h 4540"/>
                  <a:gd name="T54" fmla="*/ 0 w 2039"/>
                  <a:gd name="T55" fmla="*/ 0 h 4540"/>
                  <a:gd name="T56" fmla="*/ 0 w 2039"/>
                  <a:gd name="T57" fmla="*/ 0 h 4540"/>
                  <a:gd name="T58" fmla="*/ 0 w 2039"/>
                  <a:gd name="T59" fmla="*/ 0 h 4540"/>
                  <a:gd name="T60" fmla="*/ 0 w 2039"/>
                  <a:gd name="T61" fmla="*/ 0 h 4540"/>
                  <a:gd name="T62" fmla="*/ 0 w 2039"/>
                  <a:gd name="T63" fmla="*/ 0 h 4540"/>
                  <a:gd name="T64" fmla="*/ 0 w 2039"/>
                  <a:gd name="T65" fmla="*/ 0 h 4540"/>
                  <a:gd name="T66" fmla="*/ 0 w 2039"/>
                  <a:gd name="T67" fmla="*/ 0 h 4540"/>
                  <a:gd name="T68" fmla="*/ 0 w 2039"/>
                  <a:gd name="T69" fmla="*/ 0 h 4540"/>
                  <a:gd name="T70" fmla="*/ 0 w 2039"/>
                  <a:gd name="T71" fmla="*/ 0 h 4540"/>
                  <a:gd name="T72" fmla="*/ 0 w 2039"/>
                  <a:gd name="T73" fmla="*/ 0 h 4540"/>
                  <a:gd name="T74" fmla="*/ 0 w 2039"/>
                  <a:gd name="T75" fmla="*/ 0 h 4540"/>
                  <a:gd name="T76" fmla="*/ 0 w 2039"/>
                  <a:gd name="T77" fmla="*/ 0 h 4540"/>
                  <a:gd name="T78" fmla="*/ 0 w 2039"/>
                  <a:gd name="T79" fmla="*/ 0 h 4540"/>
                  <a:gd name="T80" fmla="*/ 0 w 2039"/>
                  <a:gd name="T81" fmla="*/ 0 h 4540"/>
                  <a:gd name="T82" fmla="*/ 0 w 2039"/>
                  <a:gd name="T83" fmla="*/ 0 h 4540"/>
                  <a:gd name="T84" fmla="*/ 0 w 2039"/>
                  <a:gd name="T85" fmla="*/ 0 h 4540"/>
                  <a:gd name="T86" fmla="*/ 0 w 2039"/>
                  <a:gd name="T87" fmla="*/ 0 h 4540"/>
                  <a:gd name="T88" fmla="*/ 0 w 2039"/>
                  <a:gd name="T89" fmla="*/ 0 h 4540"/>
                  <a:gd name="T90" fmla="*/ 0 w 2039"/>
                  <a:gd name="T91" fmla="*/ 0 h 4540"/>
                  <a:gd name="T92" fmla="*/ 0 w 2039"/>
                  <a:gd name="T93" fmla="*/ 0 h 4540"/>
                  <a:gd name="T94" fmla="*/ 0 w 2039"/>
                  <a:gd name="T95" fmla="*/ 0 h 4540"/>
                  <a:gd name="T96" fmla="*/ 0 w 2039"/>
                  <a:gd name="T97" fmla="*/ 0 h 4540"/>
                  <a:gd name="T98" fmla="*/ 0 w 2039"/>
                  <a:gd name="T99" fmla="*/ 0 h 4540"/>
                  <a:gd name="T100" fmla="*/ 0 w 2039"/>
                  <a:gd name="T101" fmla="*/ 0 h 4540"/>
                  <a:gd name="T102" fmla="*/ 0 w 2039"/>
                  <a:gd name="T103" fmla="*/ 0 h 45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9"/>
                  <a:gd name="T157" fmla="*/ 0 h 4540"/>
                  <a:gd name="T158" fmla="*/ 2039 w 2039"/>
                  <a:gd name="T159" fmla="*/ 4540 h 45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9" h="4540">
                    <a:moveTo>
                      <a:pt x="201" y="680"/>
                    </a:moveTo>
                    <a:lnTo>
                      <a:pt x="196" y="732"/>
                    </a:lnTo>
                    <a:lnTo>
                      <a:pt x="200" y="784"/>
                    </a:lnTo>
                    <a:lnTo>
                      <a:pt x="207" y="834"/>
                    </a:lnTo>
                    <a:lnTo>
                      <a:pt x="219" y="884"/>
                    </a:lnTo>
                    <a:lnTo>
                      <a:pt x="230" y="932"/>
                    </a:lnTo>
                    <a:lnTo>
                      <a:pt x="241" y="982"/>
                    </a:lnTo>
                    <a:lnTo>
                      <a:pt x="249" y="1031"/>
                    </a:lnTo>
                    <a:lnTo>
                      <a:pt x="251" y="1083"/>
                    </a:lnTo>
                    <a:lnTo>
                      <a:pt x="259" y="1131"/>
                    </a:lnTo>
                    <a:lnTo>
                      <a:pt x="272" y="1180"/>
                    </a:lnTo>
                    <a:lnTo>
                      <a:pt x="285" y="1229"/>
                    </a:lnTo>
                    <a:lnTo>
                      <a:pt x="299" y="1278"/>
                    </a:lnTo>
                    <a:lnTo>
                      <a:pt x="309" y="1326"/>
                    </a:lnTo>
                    <a:lnTo>
                      <a:pt x="318" y="1376"/>
                    </a:lnTo>
                    <a:lnTo>
                      <a:pt x="321" y="1427"/>
                    </a:lnTo>
                    <a:lnTo>
                      <a:pt x="320" y="1480"/>
                    </a:lnTo>
                    <a:lnTo>
                      <a:pt x="322" y="1536"/>
                    </a:lnTo>
                    <a:lnTo>
                      <a:pt x="331" y="1591"/>
                    </a:lnTo>
                    <a:lnTo>
                      <a:pt x="343" y="1644"/>
                    </a:lnTo>
                    <a:lnTo>
                      <a:pt x="358" y="1699"/>
                    </a:lnTo>
                    <a:lnTo>
                      <a:pt x="372" y="1751"/>
                    </a:lnTo>
                    <a:lnTo>
                      <a:pt x="387" y="1805"/>
                    </a:lnTo>
                    <a:lnTo>
                      <a:pt x="399" y="1860"/>
                    </a:lnTo>
                    <a:lnTo>
                      <a:pt x="407" y="1917"/>
                    </a:lnTo>
                    <a:lnTo>
                      <a:pt x="430" y="1996"/>
                    </a:lnTo>
                    <a:lnTo>
                      <a:pt x="452" y="2075"/>
                    </a:lnTo>
                    <a:lnTo>
                      <a:pt x="472" y="2154"/>
                    </a:lnTo>
                    <a:lnTo>
                      <a:pt x="494" y="2235"/>
                    </a:lnTo>
                    <a:lnTo>
                      <a:pt x="515" y="2314"/>
                    </a:lnTo>
                    <a:lnTo>
                      <a:pt x="539" y="2393"/>
                    </a:lnTo>
                    <a:lnTo>
                      <a:pt x="564" y="2472"/>
                    </a:lnTo>
                    <a:lnTo>
                      <a:pt x="593" y="2551"/>
                    </a:lnTo>
                    <a:lnTo>
                      <a:pt x="606" y="2600"/>
                    </a:lnTo>
                    <a:lnTo>
                      <a:pt x="623" y="2649"/>
                    </a:lnTo>
                    <a:lnTo>
                      <a:pt x="639" y="2697"/>
                    </a:lnTo>
                    <a:lnTo>
                      <a:pt x="658" y="2745"/>
                    </a:lnTo>
                    <a:lnTo>
                      <a:pt x="678" y="2791"/>
                    </a:lnTo>
                    <a:lnTo>
                      <a:pt x="698" y="2839"/>
                    </a:lnTo>
                    <a:lnTo>
                      <a:pt x="717" y="2887"/>
                    </a:lnTo>
                    <a:lnTo>
                      <a:pt x="738" y="2935"/>
                    </a:lnTo>
                    <a:lnTo>
                      <a:pt x="787" y="3021"/>
                    </a:lnTo>
                    <a:lnTo>
                      <a:pt x="832" y="3109"/>
                    </a:lnTo>
                    <a:lnTo>
                      <a:pt x="875" y="3198"/>
                    </a:lnTo>
                    <a:lnTo>
                      <a:pt x="918" y="3288"/>
                    </a:lnTo>
                    <a:lnTo>
                      <a:pt x="961" y="3377"/>
                    </a:lnTo>
                    <a:lnTo>
                      <a:pt x="1004" y="3466"/>
                    </a:lnTo>
                    <a:lnTo>
                      <a:pt x="1051" y="3553"/>
                    </a:lnTo>
                    <a:lnTo>
                      <a:pt x="1101" y="3640"/>
                    </a:lnTo>
                    <a:lnTo>
                      <a:pt x="1107" y="3649"/>
                    </a:lnTo>
                    <a:lnTo>
                      <a:pt x="1113" y="3661"/>
                    </a:lnTo>
                    <a:lnTo>
                      <a:pt x="1117" y="3672"/>
                    </a:lnTo>
                    <a:lnTo>
                      <a:pt x="1122" y="3685"/>
                    </a:lnTo>
                    <a:lnTo>
                      <a:pt x="1125" y="3695"/>
                    </a:lnTo>
                    <a:lnTo>
                      <a:pt x="1130" y="3706"/>
                    </a:lnTo>
                    <a:lnTo>
                      <a:pt x="1138" y="3714"/>
                    </a:lnTo>
                    <a:lnTo>
                      <a:pt x="1150" y="3723"/>
                    </a:lnTo>
                    <a:lnTo>
                      <a:pt x="1185" y="3777"/>
                    </a:lnTo>
                    <a:lnTo>
                      <a:pt x="1224" y="3832"/>
                    </a:lnTo>
                    <a:lnTo>
                      <a:pt x="1264" y="3885"/>
                    </a:lnTo>
                    <a:lnTo>
                      <a:pt x="1306" y="3939"/>
                    </a:lnTo>
                    <a:lnTo>
                      <a:pt x="1349" y="3991"/>
                    </a:lnTo>
                    <a:lnTo>
                      <a:pt x="1392" y="4044"/>
                    </a:lnTo>
                    <a:lnTo>
                      <a:pt x="1436" y="4096"/>
                    </a:lnTo>
                    <a:lnTo>
                      <a:pt x="1479" y="4149"/>
                    </a:lnTo>
                    <a:lnTo>
                      <a:pt x="1508" y="4167"/>
                    </a:lnTo>
                    <a:lnTo>
                      <a:pt x="1536" y="4186"/>
                    </a:lnTo>
                    <a:lnTo>
                      <a:pt x="1563" y="4206"/>
                    </a:lnTo>
                    <a:lnTo>
                      <a:pt x="1591" y="4228"/>
                    </a:lnTo>
                    <a:lnTo>
                      <a:pt x="1616" y="4251"/>
                    </a:lnTo>
                    <a:lnTo>
                      <a:pt x="1642" y="4276"/>
                    </a:lnTo>
                    <a:lnTo>
                      <a:pt x="1666" y="4302"/>
                    </a:lnTo>
                    <a:lnTo>
                      <a:pt x="1690" y="4331"/>
                    </a:lnTo>
                    <a:lnTo>
                      <a:pt x="1731" y="4349"/>
                    </a:lnTo>
                    <a:lnTo>
                      <a:pt x="1771" y="4372"/>
                    </a:lnTo>
                    <a:lnTo>
                      <a:pt x="1810" y="4394"/>
                    </a:lnTo>
                    <a:lnTo>
                      <a:pt x="1849" y="4420"/>
                    </a:lnTo>
                    <a:lnTo>
                      <a:pt x="1887" y="4444"/>
                    </a:lnTo>
                    <a:lnTo>
                      <a:pt x="1926" y="4470"/>
                    </a:lnTo>
                    <a:lnTo>
                      <a:pt x="1965" y="4495"/>
                    </a:lnTo>
                    <a:lnTo>
                      <a:pt x="2005" y="4520"/>
                    </a:lnTo>
                    <a:lnTo>
                      <a:pt x="2014" y="4519"/>
                    </a:lnTo>
                    <a:lnTo>
                      <a:pt x="2022" y="4525"/>
                    </a:lnTo>
                    <a:lnTo>
                      <a:pt x="2030" y="4534"/>
                    </a:lnTo>
                    <a:lnTo>
                      <a:pt x="2039" y="4540"/>
                    </a:lnTo>
                    <a:lnTo>
                      <a:pt x="1977" y="4530"/>
                    </a:lnTo>
                    <a:lnTo>
                      <a:pt x="1918" y="4517"/>
                    </a:lnTo>
                    <a:lnTo>
                      <a:pt x="1858" y="4500"/>
                    </a:lnTo>
                    <a:lnTo>
                      <a:pt x="1799" y="4484"/>
                    </a:lnTo>
                    <a:lnTo>
                      <a:pt x="1740" y="4464"/>
                    </a:lnTo>
                    <a:lnTo>
                      <a:pt x="1684" y="4446"/>
                    </a:lnTo>
                    <a:lnTo>
                      <a:pt x="1626" y="4425"/>
                    </a:lnTo>
                    <a:lnTo>
                      <a:pt x="1570" y="4406"/>
                    </a:lnTo>
                    <a:lnTo>
                      <a:pt x="1477" y="4351"/>
                    </a:lnTo>
                    <a:lnTo>
                      <a:pt x="1389" y="4295"/>
                    </a:lnTo>
                    <a:lnTo>
                      <a:pt x="1301" y="4234"/>
                    </a:lnTo>
                    <a:lnTo>
                      <a:pt x="1214" y="4174"/>
                    </a:lnTo>
                    <a:lnTo>
                      <a:pt x="1127" y="4112"/>
                    </a:lnTo>
                    <a:lnTo>
                      <a:pt x="1040" y="4053"/>
                    </a:lnTo>
                    <a:lnTo>
                      <a:pt x="952" y="3996"/>
                    </a:lnTo>
                    <a:lnTo>
                      <a:pt x="864" y="3943"/>
                    </a:lnTo>
                    <a:lnTo>
                      <a:pt x="777" y="3878"/>
                    </a:lnTo>
                    <a:lnTo>
                      <a:pt x="696" y="3811"/>
                    </a:lnTo>
                    <a:lnTo>
                      <a:pt x="620" y="3739"/>
                    </a:lnTo>
                    <a:lnTo>
                      <a:pt x="550" y="3665"/>
                    </a:lnTo>
                    <a:lnTo>
                      <a:pt x="481" y="3587"/>
                    </a:lnTo>
                    <a:lnTo>
                      <a:pt x="418" y="3507"/>
                    </a:lnTo>
                    <a:lnTo>
                      <a:pt x="357" y="3423"/>
                    </a:lnTo>
                    <a:lnTo>
                      <a:pt x="300" y="3338"/>
                    </a:lnTo>
                    <a:lnTo>
                      <a:pt x="269" y="3281"/>
                    </a:lnTo>
                    <a:lnTo>
                      <a:pt x="241" y="3224"/>
                    </a:lnTo>
                    <a:lnTo>
                      <a:pt x="215" y="3165"/>
                    </a:lnTo>
                    <a:lnTo>
                      <a:pt x="191" y="3108"/>
                    </a:lnTo>
                    <a:lnTo>
                      <a:pt x="167" y="3048"/>
                    </a:lnTo>
                    <a:lnTo>
                      <a:pt x="144" y="2989"/>
                    </a:lnTo>
                    <a:lnTo>
                      <a:pt x="121" y="2929"/>
                    </a:lnTo>
                    <a:lnTo>
                      <a:pt x="101" y="2871"/>
                    </a:lnTo>
                    <a:lnTo>
                      <a:pt x="93" y="2772"/>
                    </a:lnTo>
                    <a:lnTo>
                      <a:pt x="92" y="2674"/>
                    </a:lnTo>
                    <a:lnTo>
                      <a:pt x="92" y="2575"/>
                    </a:lnTo>
                    <a:lnTo>
                      <a:pt x="95" y="2477"/>
                    </a:lnTo>
                    <a:lnTo>
                      <a:pt x="96" y="2378"/>
                    </a:lnTo>
                    <a:lnTo>
                      <a:pt x="97" y="2283"/>
                    </a:lnTo>
                    <a:lnTo>
                      <a:pt x="94" y="2187"/>
                    </a:lnTo>
                    <a:lnTo>
                      <a:pt x="89" y="2096"/>
                    </a:lnTo>
                    <a:lnTo>
                      <a:pt x="87" y="2015"/>
                    </a:lnTo>
                    <a:lnTo>
                      <a:pt x="89" y="1935"/>
                    </a:lnTo>
                    <a:lnTo>
                      <a:pt x="92" y="1854"/>
                    </a:lnTo>
                    <a:lnTo>
                      <a:pt x="95" y="1775"/>
                    </a:lnTo>
                    <a:lnTo>
                      <a:pt x="97" y="1693"/>
                    </a:lnTo>
                    <a:lnTo>
                      <a:pt x="96" y="1614"/>
                    </a:lnTo>
                    <a:lnTo>
                      <a:pt x="92" y="1534"/>
                    </a:lnTo>
                    <a:lnTo>
                      <a:pt x="82" y="1454"/>
                    </a:lnTo>
                    <a:lnTo>
                      <a:pt x="75" y="1310"/>
                    </a:lnTo>
                    <a:lnTo>
                      <a:pt x="68" y="1166"/>
                    </a:lnTo>
                    <a:lnTo>
                      <a:pt x="61" y="1021"/>
                    </a:lnTo>
                    <a:lnTo>
                      <a:pt x="55" y="877"/>
                    </a:lnTo>
                    <a:lnTo>
                      <a:pt x="47" y="731"/>
                    </a:lnTo>
                    <a:lnTo>
                      <a:pt x="40" y="587"/>
                    </a:lnTo>
                    <a:lnTo>
                      <a:pt x="32" y="442"/>
                    </a:lnTo>
                    <a:lnTo>
                      <a:pt x="25" y="297"/>
                    </a:lnTo>
                    <a:lnTo>
                      <a:pt x="21" y="260"/>
                    </a:lnTo>
                    <a:lnTo>
                      <a:pt x="18" y="224"/>
                    </a:lnTo>
                    <a:lnTo>
                      <a:pt x="14" y="187"/>
                    </a:lnTo>
                    <a:lnTo>
                      <a:pt x="10" y="150"/>
                    </a:lnTo>
                    <a:lnTo>
                      <a:pt x="5" y="112"/>
                    </a:lnTo>
                    <a:lnTo>
                      <a:pt x="2" y="75"/>
                    </a:lnTo>
                    <a:lnTo>
                      <a:pt x="0" y="37"/>
                    </a:lnTo>
                    <a:lnTo>
                      <a:pt x="0" y="0"/>
                    </a:lnTo>
                    <a:lnTo>
                      <a:pt x="48" y="73"/>
                    </a:lnTo>
                    <a:lnTo>
                      <a:pt x="90" y="152"/>
                    </a:lnTo>
                    <a:lnTo>
                      <a:pt x="122" y="233"/>
                    </a:lnTo>
                    <a:lnTo>
                      <a:pt x="148" y="319"/>
                    </a:lnTo>
                    <a:lnTo>
                      <a:pt x="168" y="406"/>
                    </a:lnTo>
                    <a:lnTo>
                      <a:pt x="182" y="496"/>
                    </a:lnTo>
                    <a:lnTo>
                      <a:pt x="193" y="587"/>
                    </a:lnTo>
                    <a:lnTo>
                      <a:pt x="201" y="680"/>
                    </a:lnTo>
                    <a:close/>
                  </a:path>
                </a:pathLst>
              </a:custGeom>
              <a:solidFill>
                <a:srgbClr val="BD1A00"/>
              </a:solidFill>
              <a:ln w="9525">
                <a:noFill/>
                <a:round/>
                <a:headEnd/>
                <a:tailEnd/>
              </a:ln>
            </p:spPr>
            <p:txBody>
              <a:bodyPr/>
              <a:lstStyle/>
              <a:p>
                <a:pPr>
                  <a:defRPr/>
                </a:pPr>
                <a:endParaRPr lang="en-US" dirty="0">
                  <a:cs typeface="+mn-cs"/>
                </a:endParaRPr>
              </a:p>
            </p:txBody>
          </p:sp>
          <p:sp>
            <p:nvSpPr>
              <p:cNvPr id="61" name="Freeform 1107"/>
              <p:cNvSpPr>
                <a:spLocks/>
              </p:cNvSpPr>
              <p:nvPr/>
            </p:nvSpPr>
            <p:spPr bwMode="auto">
              <a:xfrm>
                <a:off x="4109" y="2524"/>
                <a:ext cx="510" cy="1135"/>
              </a:xfrm>
              <a:custGeom>
                <a:avLst/>
                <a:gdLst>
                  <a:gd name="T0" fmla="*/ 0 w 2039"/>
                  <a:gd name="T1" fmla="*/ 0 h 4540"/>
                  <a:gd name="T2" fmla="*/ 0 w 2039"/>
                  <a:gd name="T3" fmla="*/ 0 h 4540"/>
                  <a:gd name="T4" fmla="*/ 0 w 2039"/>
                  <a:gd name="T5" fmla="*/ 0 h 4540"/>
                  <a:gd name="T6" fmla="*/ 0 w 2039"/>
                  <a:gd name="T7" fmla="*/ 0 h 4540"/>
                  <a:gd name="T8" fmla="*/ 0 w 2039"/>
                  <a:gd name="T9" fmla="*/ 0 h 4540"/>
                  <a:gd name="T10" fmla="*/ 0 w 2039"/>
                  <a:gd name="T11" fmla="*/ 0 h 4540"/>
                  <a:gd name="T12" fmla="*/ 0 w 2039"/>
                  <a:gd name="T13" fmla="*/ 0 h 4540"/>
                  <a:gd name="T14" fmla="*/ 0 w 2039"/>
                  <a:gd name="T15" fmla="*/ 0 h 4540"/>
                  <a:gd name="T16" fmla="*/ 0 w 2039"/>
                  <a:gd name="T17" fmla="*/ 0 h 4540"/>
                  <a:gd name="T18" fmla="*/ 0 w 2039"/>
                  <a:gd name="T19" fmla="*/ 0 h 4540"/>
                  <a:gd name="T20" fmla="*/ 0 w 2039"/>
                  <a:gd name="T21" fmla="*/ 0 h 4540"/>
                  <a:gd name="T22" fmla="*/ 0 w 2039"/>
                  <a:gd name="T23" fmla="*/ 0 h 4540"/>
                  <a:gd name="T24" fmla="*/ 0 w 2039"/>
                  <a:gd name="T25" fmla="*/ 0 h 4540"/>
                  <a:gd name="T26" fmla="*/ 0 w 2039"/>
                  <a:gd name="T27" fmla="*/ 0 h 4540"/>
                  <a:gd name="T28" fmla="*/ 0 w 2039"/>
                  <a:gd name="T29" fmla="*/ 0 h 4540"/>
                  <a:gd name="T30" fmla="*/ 0 w 2039"/>
                  <a:gd name="T31" fmla="*/ 0 h 4540"/>
                  <a:gd name="T32" fmla="*/ 0 w 2039"/>
                  <a:gd name="T33" fmla="*/ 0 h 4540"/>
                  <a:gd name="T34" fmla="*/ 0 w 2039"/>
                  <a:gd name="T35" fmla="*/ 0 h 4540"/>
                  <a:gd name="T36" fmla="*/ 0 w 2039"/>
                  <a:gd name="T37" fmla="*/ 0 h 4540"/>
                  <a:gd name="T38" fmla="*/ 0 w 2039"/>
                  <a:gd name="T39" fmla="*/ 0 h 4540"/>
                  <a:gd name="T40" fmla="*/ 0 w 2039"/>
                  <a:gd name="T41" fmla="*/ 0 h 4540"/>
                  <a:gd name="T42" fmla="*/ 0 w 2039"/>
                  <a:gd name="T43" fmla="*/ 0 h 4540"/>
                  <a:gd name="T44" fmla="*/ 0 w 2039"/>
                  <a:gd name="T45" fmla="*/ 0 h 4540"/>
                  <a:gd name="T46" fmla="*/ 0 w 2039"/>
                  <a:gd name="T47" fmla="*/ 0 h 4540"/>
                  <a:gd name="T48" fmla="*/ 0 w 2039"/>
                  <a:gd name="T49" fmla="*/ 0 h 4540"/>
                  <a:gd name="T50" fmla="*/ 0 w 2039"/>
                  <a:gd name="T51" fmla="*/ 0 h 4540"/>
                  <a:gd name="T52" fmla="*/ 0 w 2039"/>
                  <a:gd name="T53" fmla="*/ 0 h 4540"/>
                  <a:gd name="T54" fmla="*/ 0 w 2039"/>
                  <a:gd name="T55" fmla="*/ 0 h 4540"/>
                  <a:gd name="T56" fmla="*/ 0 w 2039"/>
                  <a:gd name="T57" fmla="*/ 0 h 4540"/>
                  <a:gd name="T58" fmla="*/ 0 w 2039"/>
                  <a:gd name="T59" fmla="*/ 0 h 4540"/>
                  <a:gd name="T60" fmla="*/ 0 w 2039"/>
                  <a:gd name="T61" fmla="*/ 0 h 4540"/>
                  <a:gd name="T62" fmla="*/ 0 w 2039"/>
                  <a:gd name="T63" fmla="*/ 0 h 4540"/>
                  <a:gd name="T64" fmla="*/ 0 w 2039"/>
                  <a:gd name="T65" fmla="*/ 0 h 4540"/>
                  <a:gd name="T66" fmla="*/ 0 w 2039"/>
                  <a:gd name="T67" fmla="*/ 0 h 4540"/>
                  <a:gd name="T68" fmla="*/ 0 w 2039"/>
                  <a:gd name="T69" fmla="*/ 0 h 4540"/>
                  <a:gd name="T70" fmla="*/ 0 w 2039"/>
                  <a:gd name="T71" fmla="*/ 0 h 4540"/>
                  <a:gd name="T72" fmla="*/ 0 w 2039"/>
                  <a:gd name="T73" fmla="*/ 0 h 4540"/>
                  <a:gd name="T74" fmla="*/ 0 w 2039"/>
                  <a:gd name="T75" fmla="*/ 0 h 4540"/>
                  <a:gd name="T76" fmla="*/ 0 w 2039"/>
                  <a:gd name="T77" fmla="*/ 0 h 4540"/>
                  <a:gd name="T78" fmla="*/ 0 w 2039"/>
                  <a:gd name="T79" fmla="*/ 0 h 4540"/>
                  <a:gd name="T80" fmla="*/ 0 w 2039"/>
                  <a:gd name="T81" fmla="*/ 0 h 4540"/>
                  <a:gd name="T82" fmla="*/ 0 w 2039"/>
                  <a:gd name="T83" fmla="*/ 0 h 4540"/>
                  <a:gd name="T84" fmla="*/ 0 w 2039"/>
                  <a:gd name="T85" fmla="*/ 0 h 4540"/>
                  <a:gd name="T86" fmla="*/ 0 w 2039"/>
                  <a:gd name="T87" fmla="*/ 0 h 4540"/>
                  <a:gd name="T88" fmla="*/ 0 w 2039"/>
                  <a:gd name="T89" fmla="*/ 0 h 4540"/>
                  <a:gd name="T90" fmla="*/ 0 w 2039"/>
                  <a:gd name="T91" fmla="*/ 0 h 4540"/>
                  <a:gd name="T92" fmla="*/ 0 w 2039"/>
                  <a:gd name="T93" fmla="*/ 0 h 4540"/>
                  <a:gd name="T94" fmla="*/ 0 w 2039"/>
                  <a:gd name="T95" fmla="*/ 0 h 4540"/>
                  <a:gd name="T96" fmla="*/ 0 w 2039"/>
                  <a:gd name="T97" fmla="*/ 0 h 4540"/>
                  <a:gd name="T98" fmla="*/ 0 w 2039"/>
                  <a:gd name="T99" fmla="*/ 0 h 4540"/>
                  <a:gd name="T100" fmla="*/ 0 w 2039"/>
                  <a:gd name="T101" fmla="*/ 0 h 4540"/>
                  <a:gd name="T102" fmla="*/ 0 w 2039"/>
                  <a:gd name="T103" fmla="*/ 0 h 45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9"/>
                  <a:gd name="T157" fmla="*/ 0 h 4540"/>
                  <a:gd name="T158" fmla="*/ 2039 w 2039"/>
                  <a:gd name="T159" fmla="*/ 4540 h 45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9" h="4540">
                    <a:moveTo>
                      <a:pt x="184" y="696"/>
                    </a:moveTo>
                    <a:lnTo>
                      <a:pt x="180" y="749"/>
                    </a:lnTo>
                    <a:lnTo>
                      <a:pt x="183" y="801"/>
                    </a:lnTo>
                    <a:lnTo>
                      <a:pt x="191" y="851"/>
                    </a:lnTo>
                    <a:lnTo>
                      <a:pt x="203" y="901"/>
                    </a:lnTo>
                    <a:lnTo>
                      <a:pt x="214" y="949"/>
                    </a:lnTo>
                    <a:lnTo>
                      <a:pt x="226" y="999"/>
                    </a:lnTo>
                    <a:lnTo>
                      <a:pt x="233" y="1048"/>
                    </a:lnTo>
                    <a:lnTo>
                      <a:pt x="235" y="1100"/>
                    </a:lnTo>
                    <a:lnTo>
                      <a:pt x="244" y="1149"/>
                    </a:lnTo>
                    <a:lnTo>
                      <a:pt x="256" y="1198"/>
                    </a:lnTo>
                    <a:lnTo>
                      <a:pt x="269" y="1245"/>
                    </a:lnTo>
                    <a:lnTo>
                      <a:pt x="282" y="1294"/>
                    </a:lnTo>
                    <a:lnTo>
                      <a:pt x="293" y="1343"/>
                    </a:lnTo>
                    <a:lnTo>
                      <a:pt x="302" y="1392"/>
                    </a:lnTo>
                    <a:lnTo>
                      <a:pt x="305" y="1443"/>
                    </a:lnTo>
                    <a:lnTo>
                      <a:pt x="304" y="1497"/>
                    </a:lnTo>
                    <a:lnTo>
                      <a:pt x="306" y="1552"/>
                    </a:lnTo>
                    <a:lnTo>
                      <a:pt x="315" y="1607"/>
                    </a:lnTo>
                    <a:lnTo>
                      <a:pt x="327" y="1661"/>
                    </a:lnTo>
                    <a:lnTo>
                      <a:pt x="342" y="1715"/>
                    </a:lnTo>
                    <a:lnTo>
                      <a:pt x="356" y="1767"/>
                    </a:lnTo>
                    <a:lnTo>
                      <a:pt x="370" y="1822"/>
                    </a:lnTo>
                    <a:lnTo>
                      <a:pt x="382" y="1876"/>
                    </a:lnTo>
                    <a:lnTo>
                      <a:pt x="391" y="1934"/>
                    </a:lnTo>
                    <a:lnTo>
                      <a:pt x="414" y="2012"/>
                    </a:lnTo>
                    <a:lnTo>
                      <a:pt x="434" y="2091"/>
                    </a:lnTo>
                    <a:lnTo>
                      <a:pt x="454" y="2171"/>
                    </a:lnTo>
                    <a:lnTo>
                      <a:pt x="474" y="2252"/>
                    </a:lnTo>
                    <a:lnTo>
                      <a:pt x="492" y="2331"/>
                    </a:lnTo>
                    <a:lnTo>
                      <a:pt x="514" y="2411"/>
                    </a:lnTo>
                    <a:lnTo>
                      <a:pt x="538" y="2489"/>
                    </a:lnTo>
                    <a:lnTo>
                      <a:pt x="567" y="2568"/>
                    </a:lnTo>
                    <a:lnTo>
                      <a:pt x="580" y="2617"/>
                    </a:lnTo>
                    <a:lnTo>
                      <a:pt x="598" y="2666"/>
                    </a:lnTo>
                    <a:lnTo>
                      <a:pt x="615" y="2715"/>
                    </a:lnTo>
                    <a:lnTo>
                      <a:pt x="635" y="2764"/>
                    </a:lnTo>
                    <a:lnTo>
                      <a:pt x="654" y="2812"/>
                    </a:lnTo>
                    <a:lnTo>
                      <a:pt x="675" y="2860"/>
                    </a:lnTo>
                    <a:lnTo>
                      <a:pt x="694" y="2908"/>
                    </a:lnTo>
                    <a:lnTo>
                      <a:pt x="715" y="2955"/>
                    </a:lnTo>
                    <a:lnTo>
                      <a:pt x="764" y="3041"/>
                    </a:lnTo>
                    <a:lnTo>
                      <a:pt x="811" y="3129"/>
                    </a:lnTo>
                    <a:lnTo>
                      <a:pt x="854" y="3217"/>
                    </a:lnTo>
                    <a:lnTo>
                      <a:pt x="899" y="3307"/>
                    </a:lnTo>
                    <a:lnTo>
                      <a:pt x="941" y="3395"/>
                    </a:lnTo>
                    <a:lnTo>
                      <a:pt x="987" y="3483"/>
                    </a:lnTo>
                    <a:lnTo>
                      <a:pt x="1034" y="3570"/>
                    </a:lnTo>
                    <a:lnTo>
                      <a:pt x="1085" y="3657"/>
                    </a:lnTo>
                    <a:lnTo>
                      <a:pt x="1092" y="3665"/>
                    </a:lnTo>
                    <a:lnTo>
                      <a:pt x="1098" y="3677"/>
                    </a:lnTo>
                    <a:lnTo>
                      <a:pt x="1101" y="3688"/>
                    </a:lnTo>
                    <a:lnTo>
                      <a:pt x="1105" y="3701"/>
                    </a:lnTo>
                    <a:lnTo>
                      <a:pt x="1109" y="3711"/>
                    </a:lnTo>
                    <a:lnTo>
                      <a:pt x="1114" y="3722"/>
                    </a:lnTo>
                    <a:lnTo>
                      <a:pt x="1122" y="3731"/>
                    </a:lnTo>
                    <a:lnTo>
                      <a:pt x="1134" y="3739"/>
                    </a:lnTo>
                    <a:lnTo>
                      <a:pt x="1168" y="3794"/>
                    </a:lnTo>
                    <a:lnTo>
                      <a:pt x="1208" y="3848"/>
                    </a:lnTo>
                    <a:lnTo>
                      <a:pt x="1248" y="3901"/>
                    </a:lnTo>
                    <a:lnTo>
                      <a:pt x="1290" y="3956"/>
                    </a:lnTo>
                    <a:lnTo>
                      <a:pt x="1333" y="4008"/>
                    </a:lnTo>
                    <a:lnTo>
                      <a:pt x="1376" y="4060"/>
                    </a:lnTo>
                    <a:lnTo>
                      <a:pt x="1420" y="4112"/>
                    </a:lnTo>
                    <a:lnTo>
                      <a:pt x="1463" y="4165"/>
                    </a:lnTo>
                    <a:lnTo>
                      <a:pt x="1491" y="4183"/>
                    </a:lnTo>
                    <a:lnTo>
                      <a:pt x="1520" y="4202"/>
                    </a:lnTo>
                    <a:lnTo>
                      <a:pt x="1547" y="4222"/>
                    </a:lnTo>
                    <a:lnTo>
                      <a:pt x="1575" y="4245"/>
                    </a:lnTo>
                    <a:lnTo>
                      <a:pt x="1600" y="4268"/>
                    </a:lnTo>
                    <a:lnTo>
                      <a:pt x="1626" y="4292"/>
                    </a:lnTo>
                    <a:lnTo>
                      <a:pt x="1650" y="4318"/>
                    </a:lnTo>
                    <a:lnTo>
                      <a:pt x="1674" y="4346"/>
                    </a:lnTo>
                    <a:lnTo>
                      <a:pt x="1714" y="4364"/>
                    </a:lnTo>
                    <a:lnTo>
                      <a:pt x="1757" y="4385"/>
                    </a:lnTo>
                    <a:lnTo>
                      <a:pt x="1799" y="4405"/>
                    </a:lnTo>
                    <a:lnTo>
                      <a:pt x="1841" y="4427"/>
                    </a:lnTo>
                    <a:lnTo>
                      <a:pt x="1883" y="4449"/>
                    </a:lnTo>
                    <a:lnTo>
                      <a:pt x="1924" y="4472"/>
                    </a:lnTo>
                    <a:lnTo>
                      <a:pt x="1964" y="4495"/>
                    </a:lnTo>
                    <a:lnTo>
                      <a:pt x="2005" y="4520"/>
                    </a:lnTo>
                    <a:lnTo>
                      <a:pt x="2014" y="4519"/>
                    </a:lnTo>
                    <a:lnTo>
                      <a:pt x="2022" y="4525"/>
                    </a:lnTo>
                    <a:lnTo>
                      <a:pt x="2030" y="4534"/>
                    </a:lnTo>
                    <a:lnTo>
                      <a:pt x="2039" y="4540"/>
                    </a:lnTo>
                    <a:lnTo>
                      <a:pt x="1977" y="4530"/>
                    </a:lnTo>
                    <a:lnTo>
                      <a:pt x="1918" y="4517"/>
                    </a:lnTo>
                    <a:lnTo>
                      <a:pt x="1858" y="4500"/>
                    </a:lnTo>
                    <a:lnTo>
                      <a:pt x="1799" y="4484"/>
                    </a:lnTo>
                    <a:lnTo>
                      <a:pt x="1740" y="4464"/>
                    </a:lnTo>
                    <a:lnTo>
                      <a:pt x="1684" y="4446"/>
                    </a:lnTo>
                    <a:lnTo>
                      <a:pt x="1626" y="4425"/>
                    </a:lnTo>
                    <a:lnTo>
                      <a:pt x="1570" y="4406"/>
                    </a:lnTo>
                    <a:lnTo>
                      <a:pt x="1477" y="4351"/>
                    </a:lnTo>
                    <a:lnTo>
                      <a:pt x="1389" y="4295"/>
                    </a:lnTo>
                    <a:lnTo>
                      <a:pt x="1301" y="4234"/>
                    </a:lnTo>
                    <a:lnTo>
                      <a:pt x="1214" y="4174"/>
                    </a:lnTo>
                    <a:lnTo>
                      <a:pt x="1127" y="4112"/>
                    </a:lnTo>
                    <a:lnTo>
                      <a:pt x="1040" y="4053"/>
                    </a:lnTo>
                    <a:lnTo>
                      <a:pt x="952" y="3996"/>
                    </a:lnTo>
                    <a:lnTo>
                      <a:pt x="864" y="3943"/>
                    </a:lnTo>
                    <a:lnTo>
                      <a:pt x="777" y="3878"/>
                    </a:lnTo>
                    <a:lnTo>
                      <a:pt x="696" y="3811"/>
                    </a:lnTo>
                    <a:lnTo>
                      <a:pt x="620" y="3739"/>
                    </a:lnTo>
                    <a:lnTo>
                      <a:pt x="550" y="3665"/>
                    </a:lnTo>
                    <a:lnTo>
                      <a:pt x="481" y="3587"/>
                    </a:lnTo>
                    <a:lnTo>
                      <a:pt x="418" y="3507"/>
                    </a:lnTo>
                    <a:lnTo>
                      <a:pt x="357" y="3423"/>
                    </a:lnTo>
                    <a:lnTo>
                      <a:pt x="300" y="3338"/>
                    </a:lnTo>
                    <a:lnTo>
                      <a:pt x="269" y="3281"/>
                    </a:lnTo>
                    <a:lnTo>
                      <a:pt x="241" y="3224"/>
                    </a:lnTo>
                    <a:lnTo>
                      <a:pt x="215" y="3165"/>
                    </a:lnTo>
                    <a:lnTo>
                      <a:pt x="191" y="3108"/>
                    </a:lnTo>
                    <a:lnTo>
                      <a:pt x="167" y="3048"/>
                    </a:lnTo>
                    <a:lnTo>
                      <a:pt x="144" y="2989"/>
                    </a:lnTo>
                    <a:lnTo>
                      <a:pt x="121" y="2929"/>
                    </a:lnTo>
                    <a:lnTo>
                      <a:pt x="101" y="2871"/>
                    </a:lnTo>
                    <a:lnTo>
                      <a:pt x="93" y="2772"/>
                    </a:lnTo>
                    <a:lnTo>
                      <a:pt x="92" y="2674"/>
                    </a:lnTo>
                    <a:lnTo>
                      <a:pt x="92" y="2575"/>
                    </a:lnTo>
                    <a:lnTo>
                      <a:pt x="95" y="2477"/>
                    </a:lnTo>
                    <a:lnTo>
                      <a:pt x="96" y="2378"/>
                    </a:lnTo>
                    <a:lnTo>
                      <a:pt x="97" y="2283"/>
                    </a:lnTo>
                    <a:lnTo>
                      <a:pt x="94" y="2187"/>
                    </a:lnTo>
                    <a:lnTo>
                      <a:pt x="89" y="2096"/>
                    </a:lnTo>
                    <a:lnTo>
                      <a:pt x="87" y="2015"/>
                    </a:lnTo>
                    <a:lnTo>
                      <a:pt x="89" y="1935"/>
                    </a:lnTo>
                    <a:lnTo>
                      <a:pt x="92" y="1854"/>
                    </a:lnTo>
                    <a:lnTo>
                      <a:pt x="95" y="1775"/>
                    </a:lnTo>
                    <a:lnTo>
                      <a:pt x="97" y="1693"/>
                    </a:lnTo>
                    <a:lnTo>
                      <a:pt x="96" y="1614"/>
                    </a:lnTo>
                    <a:lnTo>
                      <a:pt x="92" y="1534"/>
                    </a:lnTo>
                    <a:lnTo>
                      <a:pt x="82" y="1454"/>
                    </a:lnTo>
                    <a:lnTo>
                      <a:pt x="75" y="1310"/>
                    </a:lnTo>
                    <a:lnTo>
                      <a:pt x="68" y="1166"/>
                    </a:lnTo>
                    <a:lnTo>
                      <a:pt x="61" y="1021"/>
                    </a:lnTo>
                    <a:lnTo>
                      <a:pt x="55" y="877"/>
                    </a:lnTo>
                    <a:lnTo>
                      <a:pt x="47" y="731"/>
                    </a:lnTo>
                    <a:lnTo>
                      <a:pt x="40" y="587"/>
                    </a:lnTo>
                    <a:lnTo>
                      <a:pt x="32" y="442"/>
                    </a:lnTo>
                    <a:lnTo>
                      <a:pt x="25" y="297"/>
                    </a:lnTo>
                    <a:lnTo>
                      <a:pt x="21" y="260"/>
                    </a:lnTo>
                    <a:lnTo>
                      <a:pt x="18" y="224"/>
                    </a:lnTo>
                    <a:lnTo>
                      <a:pt x="14" y="187"/>
                    </a:lnTo>
                    <a:lnTo>
                      <a:pt x="10" y="150"/>
                    </a:lnTo>
                    <a:lnTo>
                      <a:pt x="5" y="112"/>
                    </a:lnTo>
                    <a:lnTo>
                      <a:pt x="2" y="75"/>
                    </a:lnTo>
                    <a:lnTo>
                      <a:pt x="0" y="37"/>
                    </a:lnTo>
                    <a:lnTo>
                      <a:pt x="0" y="0"/>
                    </a:lnTo>
                    <a:lnTo>
                      <a:pt x="48" y="73"/>
                    </a:lnTo>
                    <a:lnTo>
                      <a:pt x="88" y="154"/>
                    </a:lnTo>
                    <a:lnTo>
                      <a:pt x="117" y="239"/>
                    </a:lnTo>
                    <a:lnTo>
                      <a:pt x="141" y="327"/>
                    </a:lnTo>
                    <a:lnTo>
                      <a:pt x="156" y="417"/>
                    </a:lnTo>
                    <a:lnTo>
                      <a:pt x="168" y="509"/>
                    </a:lnTo>
                    <a:lnTo>
                      <a:pt x="177" y="603"/>
                    </a:lnTo>
                    <a:lnTo>
                      <a:pt x="184" y="696"/>
                    </a:lnTo>
                    <a:close/>
                  </a:path>
                </a:pathLst>
              </a:custGeom>
              <a:solidFill>
                <a:srgbClr val="C81A00"/>
              </a:solidFill>
              <a:ln w="9525">
                <a:noFill/>
                <a:round/>
                <a:headEnd/>
                <a:tailEnd/>
              </a:ln>
            </p:spPr>
            <p:txBody>
              <a:bodyPr/>
              <a:lstStyle/>
              <a:p>
                <a:pPr>
                  <a:defRPr/>
                </a:pPr>
                <a:endParaRPr lang="en-US" dirty="0">
                  <a:cs typeface="+mn-cs"/>
                </a:endParaRPr>
              </a:p>
            </p:txBody>
          </p:sp>
          <p:sp>
            <p:nvSpPr>
              <p:cNvPr id="62" name="Freeform 1108"/>
              <p:cNvSpPr>
                <a:spLocks/>
              </p:cNvSpPr>
              <p:nvPr/>
            </p:nvSpPr>
            <p:spPr bwMode="auto">
              <a:xfrm>
                <a:off x="4109" y="2524"/>
                <a:ext cx="510" cy="1135"/>
              </a:xfrm>
              <a:custGeom>
                <a:avLst/>
                <a:gdLst>
                  <a:gd name="T0" fmla="*/ 0 w 2039"/>
                  <a:gd name="T1" fmla="*/ 0 h 4540"/>
                  <a:gd name="T2" fmla="*/ 0 w 2039"/>
                  <a:gd name="T3" fmla="*/ 0 h 4540"/>
                  <a:gd name="T4" fmla="*/ 0 w 2039"/>
                  <a:gd name="T5" fmla="*/ 0 h 4540"/>
                  <a:gd name="T6" fmla="*/ 0 w 2039"/>
                  <a:gd name="T7" fmla="*/ 0 h 4540"/>
                  <a:gd name="T8" fmla="*/ 0 w 2039"/>
                  <a:gd name="T9" fmla="*/ 0 h 4540"/>
                  <a:gd name="T10" fmla="*/ 0 w 2039"/>
                  <a:gd name="T11" fmla="*/ 0 h 4540"/>
                  <a:gd name="T12" fmla="*/ 0 w 2039"/>
                  <a:gd name="T13" fmla="*/ 0 h 4540"/>
                  <a:gd name="T14" fmla="*/ 0 w 2039"/>
                  <a:gd name="T15" fmla="*/ 0 h 4540"/>
                  <a:gd name="T16" fmla="*/ 0 w 2039"/>
                  <a:gd name="T17" fmla="*/ 0 h 4540"/>
                  <a:gd name="T18" fmla="*/ 0 w 2039"/>
                  <a:gd name="T19" fmla="*/ 0 h 4540"/>
                  <a:gd name="T20" fmla="*/ 0 w 2039"/>
                  <a:gd name="T21" fmla="*/ 0 h 4540"/>
                  <a:gd name="T22" fmla="*/ 0 w 2039"/>
                  <a:gd name="T23" fmla="*/ 0 h 4540"/>
                  <a:gd name="T24" fmla="*/ 0 w 2039"/>
                  <a:gd name="T25" fmla="*/ 0 h 4540"/>
                  <a:gd name="T26" fmla="*/ 0 w 2039"/>
                  <a:gd name="T27" fmla="*/ 0 h 4540"/>
                  <a:gd name="T28" fmla="*/ 0 w 2039"/>
                  <a:gd name="T29" fmla="*/ 0 h 4540"/>
                  <a:gd name="T30" fmla="*/ 0 w 2039"/>
                  <a:gd name="T31" fmla="*/ 0 h 4540"/>
                  <a:gd name="T32" fmla="*/ 0 w 2039"/>
                  <a:gd name="T33" fmla="*/ 0 h 4540"/>
                  <a:gd name="T34" fmla="*/ 0 w 2039"/>
                  <a:gd name="T35" fmla="*/ 0 h 4540"/>
                  <a:gd name="T36" fmla="*/ 0 w 2039"/>
                  <a:gd name="T37" fmla="*/ 0 h 4540"/>
                  <a:gd name="T38" fmla="*/ 0 w 2039"/>
                  <a:gd name="T39" fmla="*/ 0 h 4540"/>
                  <a:gd name="T40" fmla="*/ 0 w 2039"/>
                  <a:gd name="T41" fmla="*/ 0 h 4540"/>
                  <a:gd name="T42" fmla="*/ 0 w 2039"/>
                  <a:gd name="T43" fmla="*/ 0 h 4540"/>
                  <a:gd name="T44" fmla="*/ 0 w 2039"/>
                  <a:gd name="T45" fmla="*/ 0 h 4540"/>
                  <a:gd name="T46" fmla="*/ 0 w 2039"/>
                  <a:gd name="T47" fmla="*/ 0 h 4540"/>
                  <a:gd name="T48" fmla="*/ 0 w 2039"/>
                  <a:gd name="T49" fmla="*/ 0 h 4540"/>
                  <a:gd name="T50" fmla="*/ 0 w 2039"/>
                  <a:gd name="T51" fmla="*/ 0 h 4540"/>
                  <a:gd name="T52" fmla="*/ 0 w 2039"/>
                  <a:gd name="T53" fmla="*/ 0 h 4540"/>
                  <a:gd name="T54" fmla="*/ 0 w 2039"/>
                  <a:gd name="T55" fmla="*/ 0 h 4540"/>
                  <a:gd name="T56" fmla="*/ 0 w 2039"/>
                  <a:gd name="T57" fmla="*/ 0 h 4540"/>
                  <a:gd name="T58" fmla="*/ 0 w 2039"/>
                  <a:gd name="T59" fmla="*/ 0 h 4540"/>
                  <a:gd name="T60" fmla="*/ 0 w 2039"/>
                  <a:gd name="T61" fmla="*/ 0 h 4540"/>
                  <a:gd name="T62" fmla="*/ 0 w 2039"/>
                  <a:gd name="T63" fmla="*/ 0 h 4540"/>
                  <a:gd name="T64" fmla="*/ 0 w 2039"/>
                  <a:gd name="T65" fmla="*/ 0 h 4540"/>
                  <a:gd name="T66" fmla="*/ 0 w 2039"/>
                  <a:gd name="T67" fmla="*/ 0 h 4540"/>
                  <a:gd name="T68" fmla="*/ 0 w 2039"/>
                  <a:gd name="T69" fmla="*/ 0 h 4540"/>
                  <a:gd name="T70" fmla="*/ 0 w 2039"/>
                  <a:gd name="T71" fmla="*/ 0 h 4540"/>
                  <a:gd name="T72" fmla="*/ 0 w 2039"/>
                  <a:gd name="T73" fmla="*/ 0 h 4540"/>
                  <a:gd name="T74" fmla="*/ 0 w 2039"/>
                  <a:gd name="T75" fmla="*/ 0 h 4540"/>
                  <a:gd name="T76" fmla="*/ 0 w 2039"/>
                  <a:gd name="T77" fmla="*/ 0 h 4540"/>
                  <a:gd name="T78" fmla="*/ 0 w 2039"/>
                  <a:gd name="T79" fmla="*/ 0 h 4540"/>
                  <a:gd name="T80" fmla="*/ 0 w 2039"/>
                  <a:gd name="T81" fmla="*/ 0 h 4540"/>
                  <a:gd name="T82" fmla="*/ 0 w 2039"/>
                  <a:gd name="T83" fmla="*/ 0 h 4540"/>
                  <a:gd name="T84" fmla="*/ 0 w 2039"/>
                  <a:gd name="T85" fmla="*/ 0 h 4540"/>
                  <a:gd name="T86" fmla="*/ 0 w 2039"/>
                  <a:gd name="T87" fmla="*/ 0 h 4540"/>
                  <a:gd name="T88" fmla="*/ 0 w 2039"/>
                  <a:gd name="T89" fmla="*/ 0 h 4540"/>
                  <a:gd name="T90" fmla="*/ 0 w 2039"/>
                  <a:gd name="T91" fmla="*/ 0 h 4540"/>
                  <a:gd name="T92" fmla="*/ 0 w 2039"/>
                  <a:gd name="T93" fmla="*/ 0 h 4540"/>
                  <a:gd name="T94" fmla="*/ 0 w 2039"/>
                  <a:gd name="T95" fmla="*/ 0 h 4540"/>
                  <a:gd name="T96" fmla="*/ 0 w 2039"/>
                  <a:gd name="T97" fmla="*/ 0 h 4540"/>
                  <a:gd name="T98" fmla="*/ 0 w 2039"/>
                  <a:gd name="T99" fmla="*/ 0 h 4540"/>
                  <a:gd name="T100" fmla="*/ 0 w 2039"/>
                  <a:gd name="T101" fmla="*/ 0 h 4540"/>
                  <a:gd name="T102" fmla="*/ 0 w 2039"/>
                  <a:gd name="T103" fmla="*/ 0 h 45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9"/>
                  <a:gd name="T157" fmla="*/ 0 h 4540"/>
                  <a:gd name="T158" fmla="*/ 2039 w 2039"/>
                  <a:gd name="T159" fmla="*/ 4540 h 45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9" h="4540">
                    <a:moveTo>
                      <a:pt x="168" y="713"/>
                    </a:moveTo>
                    <a:lnTo>
                      <a:pt x="164" y="765"/>
                    </a:lnTo>
                    <a:lnTo>
                      <a:pt x="167" y="817"/>
                    </a:lnTo>
                    <a:lnTo>
                      <a:pt x="175" y="867"/>
                    </a:lnTo>
                    <a:lnTo>
                      <a:pt x="187" y="917"/>
                    </a:lnTo>
                    <a:lnTo>
                      <a:pt x="197" y="965"/>
                    </a:lnTo>
                    <a:lnTo>
                      <a:pt x="208" y="1015"/>
                    </a:lnTo>
                    <a:lnTo>
                      <a:pt x="216" y="1064"/>
                    </a:lnTo>
                    <a:lnTo>
                      <a:pt x="218" y="1116"/>
                    </a:lnTo>
                    <a:lnTo>
                      <a:pt x="227" y="1164"/>
                    </a:lnTo>
                    <a:lnTo>
                      <a:pt x="239" y="1213"/>
                    </a:lnTo>
                    <a:lnTo>
                      <a:pt x="252" y="1262"/>
                    </a:lnTo>
                    <a:lnTo>
                      <a:pt x="266" y="1311"/>
                    </a:lnTo>
                    <a:lnTo>
                      <a:pt x="277" y="1358"/>
                    </a:lnTo>
                    <a:lnTo>
                      <a:pt x="285" y="1408"/>
                    </a:lnTo>
                    <a:lnTo>
                      <a:pt x="289" y="1460"/>
                    </a:lnTo>
                    <a:lnTo>
                      <a:pt x="288" y="1513"/>
                    </a:lnTo>
                    <a:lnTo>
                      <a:pt x="290" y="1568"/>
                    </a:lnTo>
                    <a:lnTo>
                      <a:pt x="299" y="1624"/>
                    </a:lnTo>
                    <a:lnTo>
                      <a:pt x="310" y="1677"/>
                    </a:lnTo>
                    <a:lnTo>
                      <a:pt x="326" y="1731"/>
                    </a:lnTo>
                    <a:lnTo>
                      <a:pt x="340" y="1784"/>
                    </a:lnTo>
                    <a:lnTo>
                      <a:pt x="354" y="1838"/>
                    </a:lnTo>
                    <a:lnTo>
                      <a:pt x="366" y="1893"/>
                    </a:lnTo>
                    <a:lnTo>
                      <a:pt x="375" y="1951"/>
                    </a:lnTo>
                    <a:lnTo>
                      <a:pt x="396" y="2028"/>
                    </a:lnTo>
                    <a:lnTo>
                      <a:pt x="417" y="2108"/>
                    </a:lnTo>
                    <a:lnTo>
                      <a:pt x="434" y="2188"/>
                    </a:lnTo>
                    <a:lnTo>
                      <a:pt x="453" y="2268"/>
                    </a:lnTo>
                    <a:lnTo>
                      <a:pt x="470" y="2349"/>
                    </a:lnTo>
                    <a:lnTo>
                      <a:pt x="491" y="2429"/>
                    </a:lnTo>
                    <a:lnTo>
                      <a:pt x="514" y="2508"/>
                    </a:lnTo>
                    <a:lnTo>
                      <a:pt x="542" y="2587"/>
                    </a:lnTo>
                    <a:lnTo>
                      <a:pt x="555" y="2636"/>
                    </a:lnTo>
                    <a:lnTo>
                      <a:pt x="571" y="2685"/>
                    </a:lnTo>
                    <a:lnTo>
                      <a:pt x="590" y="2734"/>
                    </a:lnTo>
                    <a:lnTo>
                      <a:pt x="610" y="2784"/>
                    </a:lnTo>
                    <a:lnTo>
                      <a:pt x="629" y="2832"/>
                    </a:lnTo>
                    <a:lnTo>
                      <a:pt x="651" y="2880"/>
                    </a:lnTo>
                    <a:lnTo>
                      <a:pt x="670" y="2928"/>
                    </a:lnTo>
                    <a:lnTo>
                      <a:pt x="691" y="2976"/>
                    </a:lnTo>
                    <a:lnTo>
                      <a:pt x="740" y="3061"/>
                    </a:lnTo>
                    <a:lnTo>
                      <a:pt x="788" y="3149"/>
                    </a:lnTo>
                    <a:lnTo>
                      <a:pt x="833" y="3237"/>
                    </a:lnTo>
                    <a:lnTo>
                      <a:pt x="879" y="3325"/>
                    </a:lnTo>
                    <a:lnTo>
                      <a:pt x="924" y="3412"/>
                    </a:lnTo>
                    <a:lnTo>
                      <a:pt x="969" y="3500"/>
                    </a:lnTo>
                    <a:lnTo>
                      <a:pt x="1017" y="3587"/>
                    </a:lnTo>
                    <a:lnTo>
                      <a:pt x="1068" y="3673"/>
                    </a:lnTo>
                    <a:lnTo>
                      <a:pt x="1075" y="3682"/>
                    </a:lnTo>
                    <a:lnTo>
                      <a:pt x="1080" y="3694"/>
                    </a:lnTo>
                    <a:lnTo>
                      <a:pt x="1085" y="3704"/>
                    </a:lnTo>
                    <a:lnTo>
                      <a:pt x="1089" y="3718"/>
                    </a:lnTo>
                    <a:lnTo>
                      <a:pt x="1092" y="3727"/>
                    </a:lnTo>
                    <a:lnTo>
                      <a:pt x="1098" y="3738"/>
                    </a:lnTo>
                    <a:lnTo>
                      <a:pt x="1104" y="3747"/>
                    </a:lnTo>
                    <a:lnTo>
                      <a:pt x="1116" y="3756"/>
                    </a:lnTo>
                    <a:lnTo>
                      <a:pt x="1151" y="3810"/>
                    </a:lnTo>
                    <a:lnTo>
                      <a:pt x="1190" y="3864"/>
                    </a:lnTo>
                    <a:lnTo>
                      <a:pt x="1230" y="3918"/>
                    </a:lnTo>
                    <a:lnTo>
                      <a:pt x="1274" y="3972"/>
                    </a:lnTo>
                    <a:lnTo>
                      <a:pt x="1316" y="4024"/>
                    </a:lnTo>
                    <a:lnTo>
                      <a:pt x="1360" y="4076"/>
                    </a:lnTo>
                    <a:lnTo>
                      <a:pt x="1403" y="4128"/>
                    </a:lnTo>
                    <a:lnTo>
                      <a:pt x="1447" y="4182"/>
                    </a:lnTo>
                    <a:lnTo>
                      <a:pt x="1474" y="4199"/>
                    </a:lnTo>
                    <a:lnTo>
                      <a:pt x="1502" y="4219"/>
                    </a:lnTo>
                    <a:lnTo>
                      <a:pt x="1530" y="4238"/>
                    </a:lnTo>
                    <a:lnTo>
                      <a:pt x="1559" y="4261"/>
                    </a:lnTo>
                    <a:lnTo>
                      <a:pt x="1584" y="4284"/>
                    </a:lnTo>
                    <a:lnTo>
                      <a:pt x="1610" y="4309"/>
                    </a:lnTo>
                    <a:lnTo>
                      <a:pt x="1634" y="4335"/>
                    </a:lnTo>
                    <a:lnTo>
                      <a:pt x="1658" y="4363"/>
                    </a:lnTo>
                    <a:lnTo>
                      <a:pt x="1699" y="4381"/>
                    </a:lnTo>
                    <a:lnTo>
                      <a:pt x="1742" y="4399"/>
                    </a:lnTo>
                    <a:lnTo>
                      <a:pt x="1787" y="4417"/>
                    </a:lnTo>
                    <a:lnTo>
                      <a:pt x="1833" y="4436"/>
                    </a:lnTo>
                    <a:lnTo>
                      <a:pt x="1877" y="4455"/>
                    </a:lnTo>
                    <a:lnTo>
                      <a:pt x="1922" y="4474"/>
                    </a:lnTo>
                    <a:lnTo>
                      <a:pt x="1963" y="4496"/>
                    </a:lnTo>
                    <a:lnTo>
                      <a:pt x="2005" y="4520"/>
                    </a:lnTo>
                    <a:lnTo>
                      <a:pt x="2014" y="4519"/>
                    </a:lnTo>
                    <a:lnTo>
                      <a:pt x="2022" y="4525"/>
                    </a:lnTo>
                    <a:lnTo>
                      <a:pt x="2030" y="4534"/>
                    </a:lnTo>
                    <a:lnTo>
                      <a:pt x="2039" y="4540"/>
                    </a:lnTo>
                    <a:lnTo>
                      <a:pt x="1977" y="4530"/>
                    </a:lnTo>
                    <a:lnTo>
                      <a:pt x="1918" y="4517"/>
                    </a:lnTo>
                    <a:lnTo>
                      <a:pt x="1858" y="4500"/>
                    </a:lnTo>
                    <a:lnTo>
                      <a:pt x="1799" y="4484"/>
                    </a:lnTo>
                    <a:lnTo>
                      <a:pt x="1740" y="4464"/>
                    </a:lnTo>
                    <a:lnTo>
                      <a:pt x="1684" y="4446"/>
                    </a:lnTo>
                    <a:lnTo>
                      <a:pt x="1626" y="4425"/>
                    </a:lnTo>
                    <a:lnTo>
                      <a:pt x="1570" y="4406"/>
                    </a:lnTo>
                    <a:lnTo>
                      <a:pt x="1477" y="4351"/>
                    </a:lnTo>
                    <a:lnTo>
                      <a:pt x="1389" y="4295"/>
                    </a:lnTo>
                    <a:lnTo>
                      <a:pt x="1301" y="4234"/>
                    </a:lnTo>
                    <a:lnTo>
                      <a:pt x="1214" y="4174"/>
                    </a:lnTo>
                    <a:lnTo>
                      <a:pt x="1127" y="4112"/>
                    </a:lnTo>
                    <a:lnTo>
                      <a:pt x="1040" y="4053"/>
                    </a:lnTo>
                    <a:lnTo>
                      <a:pt x="952" y="3996"/>
                    </a:lnTo>
                    <a:lnTo>
                      <a:pt x="864" y="3943"/>
                    </a:lnTo>
                    <a:lnTo>
                      <a:pt x="777" y="3878"/>
                    </a:lnTo>
                    <a:lnTo>
                      <a:pt x="696" y="3811"/>
                    </a:lnTo>
                    <a:lnTo>
                      <a:pt x="620" y="3739"/>
                    </a:lnTo>
                    <a:lnTo>
                      <a:pt x="550" y="3665"/>
                    </a:lnTo>
                    <a:lnTo>
                      <a:pt x="481" y="3587"/>
                    </a:lnTo>
                    <a:lnTo>
                      <a:pt x="418" y="3507"/>
                    </a:lnTo>
                    <a:lnTo>
                      <a:pt x="357" y="3423"/>
                    </a:lnTo>
                    <a:lnTo>
                      <a:pt x="300" y="3338"/>
                    </a:lnTo>
                    <a:lnTo>
                      <a:pt x="269" y="3281"/>
                    </a:lnTo>
                    <a:lnTo>
                      <a:pt x="241" y="3224"/>
                    </a:lnTo>
                    <a:lnTo>
                      <a:pt x="215" y="3165"/>
                    </a:lnTo>
                    <a:lnTo>
                      <a:pt x="191" y="3108"/>
                    </a:lnTo>
                    <a:lnTo>
                      <a:pt x="167" y="3048"/>
                    </a:lnTo>
                    <a:lnTo>
                      <a:pt x="144" y="2989"/>
                    </a:lnTo>
                    <a:lnTo>
                      <a:pt x="121" y="2929"/>
                    </a:lnTo>
                    <a:lnTo>
                      <a:pt x="101" y="2871"/>
                    </a:lnTo>
                    <a:lnTo>
                      <a:pt x="93" y="2772"/>
                    </a:lnTo>
                    <a:lnTo>
                      <a:pt x="92" y="2674"/>
                    </a:lnTo>
                    <a:lnTo>
                      <a:pt x="92" y="2575"/>
                    </a:lnTo>
                    <a:lnTo>
                      <a:pt x="95" y="2477"/>
                    </a:lnTo>
                    <a:lnTo>
                      <a:pt x="96" y="2378"/>
                    </a:lnTo>
                    <a:lnTo>
                      <a:pt x="97" y="2283"/>
                    </a:lnTo>
                    <a:lnTo>
                      <a:pt x="94" y="2187"/>
                    </a:lnTo>
                    <a:lnTo>
                      <a:pt x="89" y="2096"/>
                    </a:lnTo>
                    <a:lnTo>
                      <a:pt x="87" y="2015"/>
                    </a:lnTo>
                    <a:lnTo>
                      <a:pt x="89" y="1935"/>
                    </a:lnTo>
                    <a:lnTo>
                      <a:pt x="92" y="1854"/>
                    </a:lnTo>
                    <a:lnTo>
                      <a:pt x="95" y="1775"/>
                    </a:lnTo>
                    <a:lnTo>
                      <a:pt x="97" y="1693"/>
                    </a:lnTo>
                    <a:lnTo>
                      <a:pt x="96" y="1614"/>
                    </a:lnTo>
                    <a:lnTo>
                      <a:pt x="92" y="1534"/>
                    </a:lnTo>
                    <a:lnTo>
                      <a:pt x="82" y="1454"/>
                    </a:lnTo>
                    <a:lnTo>
                      <a:pt x="75" y="1310"/>
                    </a:lnTo>
                    <a:lnTo>
                      <a:pt x="68" y="1166"/>
                    </a:lnTo>
                    <a:lnTo>
                      <a:pt x="61" y="1021"/>
                    </a:lnTo>
                    <a:lnTo>
                      <a:pt x="55" y="877"/>
                    </a:lnTo>
                    <a:lnTo>
                      <a:pt x="47" y="731"/>
                    </a:lnTo>
                    <a:lnTo>
                      <a:pt x="40" y="587"/>
                    </a:lnTo>
                    <a:lnTo>
                      <a:pt x="32" y="442"/>
                    </a:lnTo>
                    <a:lnTo>
                      <a:pt x="25" y="297"/>
                    </a:lnTo>
                    <a:lnTo>
                      <a:pt x="21" y="260"/>
                    </a:lnTo>
                    <a:lnTo>
                      <a:pt x="18" y="224"/>
                    </a:lnTo>
                    <a:lnTo>
                      <a:pt x="14" y="187"/>
                    </a:lnTo>
                    <a:lnTo>
                      <a:pt x="10" y="150"/>
                    </a:lnTo>
                    <a:lnTo>
                      <a:pt x="5" y="112"/>
                    </a:lnTo>
                    <a:lnTo>
                      <a:pt x="2" y="75"/>
                    </a:lnTo>
                    <a:lnTo>
                      <a:pt x="0" y="37"/>
                    </a:lnTo>
                    <a:lnTo>
                      <a:pt x="0" y="0"/>
                    </a:lnTo>
                    <a:lnTo>
                      <a:pt x="47" y="75"/>
                    </a:lnTo>
                    <a:lnTo>
                      <a:pt x="84" y="156"/>
                    </a:lnTo>
                    <a:lnTo>
                      <a:pt x="112" y="243"/>
                    </a:lnTo>
                    <a:lnTo>
                      <a:pt x="132" y="335"/>
                    </a:lnTo>
                    <a:lnTo>
                      <a:pt x="145" y="428"/>
                    </a:lnTo>
                    <a:lnTo>
                      <a:pt x="155" y="524"/>
                    </a:lnTo>
                    <a:lnTo>
                      <a:pt x="162" y="618"/>
                    </a:lnTo>
                    <a:lnTo>
                      <a:pt x="168" y="713"/>
                    </a:lnTo>
                    <a:close/>
                  </a:path>
                </a:pathLst>
              </a:custGeom>
              <a:solidFill>
                <a:srgbClr val="D31A00"/>
              </a:solidFill>
              <a:ln w="9525">
                <a:noFill/>
                <a:round/>
                <a:headEnd/>
                <a:tailEnd/>
              </a:ln>
            </p:spPr>
            <p:txBody>
              <a:bodyPr/>
              <a:lstStyle/>
              <a:p>
                <a:pPr>
                  <a:defRPr/>
                </a:pPr>
                <a:endParaRPr lang="en-US" dirty="0">
                  <a:cs typeface="+mn-cs"/>
                </a:endParaRPr>
              </a:p>
            </p:txBody>
          </p:sp>
          <p:sp>
            <p:nvSpPr>
              <p:cNvPr id="63" name="Freeform 1109"/>
              <p:cNvSpPr>
                <a:spLocks/>
              </p:cNvSpPr>
              <p:nvPr/>
            </p:nvSpPr>
            <p:spPr bwMode="auto">
              <a:xfrm>
                <a:off x="4109" y="2524"/>
                <a:ext cx="510" cy="1135"/>
              </a:xfrm>
              <a:custGeom>
                <a:avLst/>
                <a:gdLst>
                  <a:gd name="T0" fmla="*/ 0 w 2039"/>
                  <a:gd name="T1" fmla="*/ 0 h 4540"/>
                  <a:gd name="T2" fmla="*/ 0 w 2039"/>
                  <a:gd name="T3" fmla="*/ 0 h 4540"/>
                  <a:gd name="T4" fmla="*/ 0 w 2039"/>
                  <a:gd name="T5" fmla="*/ 0 h 4540"/>
                  <a:gd name="T6" fmla="*/ 0 w 2039"/>
                  <a:gd name="T7" fmla="*/ 0 h 4540"/>
                  <a:gd name="T8" fmla="*/ 0 w 2039"/>
                  <a:gd name="T9" fmla="*/ 0 h 4540"/>
                  <a:gd name="T10" fmla="*/ 0 w 2039"/>
                  <a:gd name="T11" fmla="*/ 0 h 4540"/>
                  <a:gd name="T12" fmla="*/ 0 w 2039"/>
                  <a:gd name="T13" fmla="*/ 0 h 4540"/>
                  <a:gd name="T14" fmla="*/ 0 w 2039"/>
                  <a:gd name="T15" fmla="*/ 0 h 4540"/>
                  <a:gd name="T16" fmla="*/ 0 w 2039"/>
                  <a:gd name="T17" fmla="*/ 0 h 4540"/>
                  <a:gd name="T18" fmla="*/ 0 w 2039"/>
                  <a:gd name="T19" fmla="*/ 0 h 4540"/>
                  <a:gd name="T20" fmla="*/ 0 w 2039"/>
                  <a:gd name="T21" fmla="*/ 0 h 4540"/>
                  <a:gd name="T22" fmla="*/ 0 w 2039"/>
                  <a:gd name="T23" fmla="*/ 0 h 4540"/>
                  <a:gd name="T24" fmla="*/ 0 w 2039"/>
                  <a:gd name="T25" fmla="*/ 0 h 4540"/>
                  <a:gd name="T26" fmla="*/ 0 w 2039"/>
                  <a:gd name="T27" fmla="*/ 0 h 4540"/>
                  <a:gd name="T28" fmla="*/ 0 w 2039"/>
                  <a:gd name="T29" fmla="*/ 0 h 4540"/>
                  <a:gd name="T30" fmla="*/ 0 w 2039"/>
                  <a:gd name="T31" fmla="*/ 0 h 4540"/>
                  <a:gd name="T32" fmla="*/ 0 w 2039"/>
                  <a:gd name="T33" fmla="*/ 0 h 4540"/>
                  <a:gd name="T34" fmla="*/ 0 w 2039"/>
                  <a:gd name="T35" fmla="*/ 0 h 4540"/>
                  <a:gd name="T36" fmla="*/ 0 w 2039"/>
                  <a:gd name="T37" fmla="*/ 0 h 4540"/>
                  <a:gd name="T38" fmla="*/ 0 w 2039"/>
                  <a:gd name="T39" fmla="*/ 0 h 4540"/>
                  <a:gd name="T40" fmla="*/ 0 w 2039"/>
                  <a:gd name="T41" fmla="*/ 0 h 4540"/>
                  <a:gd name="T42" fmla="*/ 0 w 2039"/>
                  <a:gd name="T43" fmla="*/ 0 h 4540"/>
                  <a:gd name="T44" fmla="*/ 0 w 2039"/>
                  <a:gd name="T45" fmla="*/ 0 h 4540"/>
                  <a:gd name="T46" fmla="*/ 0 w 2039"/>
                  <a:gd name="T47" fmla="*/ 0 h 4540"/>
                  <a:gd name="T48" fmla="*/ 0 w 2039"/>
                  <a:gd name="T49" fmla="*/ 0 h 4540"/>
                  <a:gd name="T50" fmla="*/ 0 w 2039"/>
                  <a:gd name="T51" fmla="*/ 0 h 4540"/>
                  <a:gd name="T52" fmla="*/ 0 w 2039"/>
                  <a:gd name="T53" fmla="*/ 0 h 4540"/>
                  <a:gd name="T54" fmla="*/ 0 w 2039"/>
                  <a:gd name="T55" fmla="*/ 0 h 4540"/>
                  <a:gd name="T56" fmla="*/ 0 w 2039"/>
                  <a:gd name="T57" fmla="*/ 0 h 4540"/>
                  <a:gd name="T58" fmla="*/ 0 w 2039"/>
                  <a:gd name="T59" fmla="*/ 0 h 4540"/>
                  <a:gd name="T60" fmla="*/ 0 w 2039"/>
                  <a:gd name="T61" fmla="*/ 0 h 4540"/>
                  <a:gd name="T62" fmla="*/ 0 w 2039"/>
                  <a:gd name="T63" fmla="*/ 0 h 4540"/>
                  <a:gd name="T64" fmla="*/ 0 w 2039"/>
                  <a:gd name="T65" fmla="*/ 0 h 4540"/>
                  <a:gd name="T66" fmla="*/ 0 w 2039"/>
                  <a:gd name="T67" fmla="*/ 0 h 4540"/>
                  <a:gd name="T68" fmla="*/ 0 w 2039"/>
                  <a:gd name="T69" fmla="*/ 0 h 4540"/>
                  <a:gd name="T70" fmla="*/ 0 w 2039"/>
                  <a:gd name="T71" fmla="*/ 0 h 4540"/>
                  <a:gd name="T72" fmla="*/ 0 w 2039"/>
                  <a:gd name="T73" fmla="*/ 0 h 4540"/>
                  <a:gd name="T74" fmla="*/ 0 w 2039"/>
                  <a:gd name="T75" fmla="*/ 0 h 4540"/>
                  <a:gd name="T76" fmla="*/ 0 w 2039"/>
                  <a:gd name="T77" fmla="*/ 0 h 4540"/>
                  <a:gd name="T78" fmla="*/ 0 w 2039"/>
                  <a:gd name="T79" fmla="*/ 0 h 4540"/>
                  <a:gd name="T80" fmla="*/ 0 w 2039"/>
                  <a:gd name="T81" fmla="*/ 0 h 4540"/>
                  <a:gd name="T82" fmla="*/ 0 w 2039"/>
                  <a:gd name="T83" fmla="*/ 0 h 4540"/>
                  <a:gd name="T84" fmla="*/ 0 w 2039"/>
                  <a:gd name="T85" fmla="*/ 0 h 4540"/>
                  <a:gd name="T86" fmla="*/ 0 w 2039"/>
                  <a:gd name="T87" fmla="*/ 0 h 4540"/>
                  <a:gd name="T88" fmla="*/ 0 w 2039"/>
                  <a:gd name="T89" fmla="*/ 0 h 4540"/>
                  <a:gd name="T90" fmla="*/ 0 w 2039"/>
                  <a:gd name="T91" fmla="*/ 0 h 4540"/>
                  <a:gd name="T92" fmla="*/ 0 w 2039"/>
                  <a:gd name="T93" fmla="*/ 0 h 4540"/>
                  <a:gd name="T94" fmla="*/ 0 w 2039"/>
                  <a:gd name="T95" fmla="*/ 0 h 4540"/>
                  <a:gd name="T96" fmla="*/ 0 w 2039"/>
                  <a:gd name="T97" fmla="*/ 0 h 4540"/>
                  <a:gd name="T98" fmla="*/ 0 w 2039"/>
                  <a:gd name="T99" fmla="*/ 0 h 4540"/>
                  <a:gd name="T100" fmla="*/ 0 w 2039"/>
                  <a:gd name="T101" fmla="*/ 0 h 4540"/>
                  <a:gd name="T102" fmla="*/ 0 w 2039"/>
                  <a:gd name="T103" fmla="*/ 0 h 45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9"/>
                  <a:gd name="T157" fmla="*/ 0 h 4540"/>
                  <a:gd name="T158" fmla="*/ 2039 w 2039"/>
                  <a:gd name="T159" fmla="*/ 4540 h 45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9" h="4540">
                    <a:moveTo>
                      <a:pt x="152" y="729"/>
                    </a:moveTo>
                    <a:lnTo>
                      <a:pt x="147" y="781"/>
                    </a:lnTo>
                    <a:lnTo>
                      <a:pt x="151" y="833"/>
                    </a:lnTo>
                    <a:lnTo>
                      <a:pt x="158" y="883"/>
                    </a:lnTo>
                    <a:lnTo>
                      <a:pt x="170" y="933"/>
                    </a:lnTo>
                    <a:lnTo>
                      <a:pt x="181" y="981"/>
                    </a:lnTo>
                    <a:lnTo>
                      <a:pt x="192" y="1031"/>
                    </a:lnTo>
                    <a:lnTo>
                      <a:pt x="200" y="1080"/>
                    </a:lnTo>
                    <a:lnTo>
                      <a:pt x="202" y="1132"/>
                    </a:lnTo>
                    <a:lnTo>
                      <a:pt x="210" y="1181"/>
                    </a:lnTo>
                    <a:lnTo>
                      <a:pt x="222" y="1230"/>
                    </a:lnTo>
                    <a:lnTo>
                      <a:pt x="235" y="1278"/>
                    </a:lnTo>
                    <a:lnTo>
                      <a:pt x="250" y="1327"/>
                    </a:lnTo>
                    <a:lnTo>
                      <a:pt x="260" y="1376"/>
                    </a:lnTo>
                    <a:lnTo>
                      <a:pt x="269" y="1425"/>
                    </a:lnTo>
                    <a:lnTo>
                      <a:pt x="272" y="1476"/>
                    </a:lnTo>
                    <a:lnTo>
                      <a:pt x="271" y="1529"/>
                    </a:lnTo>
                    <a:lnTo>
                      <a:pt x="274" y="1585"/>
                    </a:lnTo>
                    <a:lnTo>
                      <a:pt x="282" y="1640"/>
                    </a:lnTo>
                    <a:lnTo>
                      <a:pt x="294" y="1693"/>
                    </a:lnTo>
                    <a:lnTo>
                      <a:pt x="309" y="1748"/>
                    </a:lnTo>
                    <a:lnTo>
                      <a:pt x="324" y="1800"/>
                    </a:lnTo>
                    <a:lnTo>
                      <a:pt x="338" y="1854"/>
                    </a:lnTo>
                    <a:lnTo>
                      <a:pt x="349" y="1909"/>
                    </a:lnTo>
                    <a:lnTo>
                      <a:pt x="357" y="1966"/>
                    </a:lnTo>
                    <a:lnTo>
                      <a:pt x="379" y="2044"/>
                    </a:lnTo>
                    <a:lnTo>
                      <a:pt x="399" y="2124"/>
                    </a:lnTo>
                    <a:lnTo>
                      <a:pt x="415" y="2204"/>
                    </a:lnTo>
                    <a:lnTo>
                      <a:pt x="431" y="2286"/>
                    </a:lnTo>
                    <a:lnTo>
                      <a:pt x="447" y="2366"/>
                    </a:lnTo>
                    <a:lnTo>
                      <a:pt x="466" y="2447"/>
                    </a:lnTo>
                    <a:lnTo>
                      <a:pt x="488" y="2525"/>
                    </a:lnTo>
                    <a:lnTo>
                      <a:pt x="516" y="2604"/>
                    </a:lnTo>
                    <a:lnTo>
                      <a:pt x="529" y="2653"/>
                    </a:lnTo>
                    <a:lnTo>
                      <a:pt x="546" y="2703"/>
                    </a:lnTo>
                    <a:lnTo>
                      <a:pt x="565" y="2752"/>
                    </a:lnTo>
                    <a:lnTo>
                      <a:pt x="586" y="2802"/>
                    </a:lnTo>
                    <a:lnTo>
                      <a:pt x="606" y="2851"/>
                    </a:lnTo>
                    <a:lnTo>
                      <a:pt x="628" y="2900"/>
                    </a:lnTo>
                    <a:lnTo>
                      <a:pt x="648" y="2948"/>
                    </a:lnTo>
                    <a:lnTo>
                      <a:pt x="668" y="2997"/>
                    </a:lnTo>
                    <a:lnTo>
                      <a:pt x="717" y="3082"/>
                    </a:lnTo>
                    <a:lnTo>
                      <a:pt x="766" y="3169"/>
                    </a:lnTo>
                    <a:lnTo>
                      <a:pt x="813" y="3256"/>
                    </a:lnTo>
                    <a:lnTo>
                      <a:pt x="860" y="3344"/>
                    </a:lnTo>
                    <a:lnTo>
                      <a:pt x="905" y="3431"/>
                    </a:lnTo>
                    <a:lnTo>
                      <a:pt x="952" y="3518"/>
                    </a:lnTo>
                    <a:lnTo>
                      <a:pt x="1000" y="3603"/>
                    </a:lnTo>
                    <a:lnTo>
                      <a:pt x="1052" y="3689"/>
                    </a:lnTo>
                    <a:lnTo>
                      <a:pt x="1059" y="3698"/>
                    </a:lnTo>
                    <a:lnTo>
                      <a:pt x="1064" y="3710"/>
                    </a:lnTo>
                    <a:lnTo>
                      <a:pt x="1068" y="3721"/>
                    </a:lnTo>
                    <a:lnTo>
                      <a:pt x="1073" y="3734"/>
                    </a:lnTo>
                    <a:lnTo>
                      <a:pt x="1076" y="3744"/>
                    </a:lnTo>
                    <a:lnTo>
                      <a:pt x="1081" y="3754"/>
                    </a:lnTo>
                    <a:lnTo>
                      <a:pt x="1088" y="3763"/>
                    </a:lnTo>
                    <a:lnTo>
                      <a:pt x="1100" y="3772"/>
                    </a:lnTo>
                    <a:lnTo>
                      <a:pt x="1135" y="3826"/>
                    </a:lnTo>
                    <a:lnTo>
                      <a:pt x="1174" y="3881"/>
                    </a:lnTo>
                    <a:lnTo>
                      <a:pt x="1214" y="3934"/>
                    </a:lnTo>
                    <a:lnTo>
                      <a:pt x="1258" y="3988"/>
                    </a:lnTo>
                    <a:lnTo>
                      <a:pt x="1300" y="4040"/>
                    </a:lnTo>
                    <a:lnTo>
                      <a:pt x="1343" y="4093"/>
                    </a:lnTo>
                    <a:lnTo>
                      <a:pt x="1387" y="4145"/>
                    </a:lnTo>
                    <a:lnTo>
                      <a:pt x="1430" y="4198"/>
                    </a:lnTo>
                    <a:lnTo>
                      <a:pt x="1459" y="4215"/>
                    </a:lnTo>
                    <a:lnTo>
                      <a:pt x="1487" y="4235"/>
                    </a:lnTo>
                    <a:lnTo>
                      <a:pt x="1514" y="4255"/>
                    </a:lnTo>
                    <a:lnTo>
                      <a:pt x="1542" y="4277"/>
                    </a:lnTo>
                    <a:lnTo>
                      <a:pt x="1567" y="4300"/>
                    </a:lnTo>
                    <a:lnTo>
                      <a:pt x="1594" y="4324"/>
                    </a:lnTo>
                    <a:lnTo>
                      <a:pt x="1617" y="4350"/>
                    </a:lnTo>
                    <a:lnTo>
                      <a:pt x="1641" y="4379"/>
                    </a:lnTo>
                    <a:lnTo>
                      <a:pt x="1684" y="4395"/>
                    </a:lnTo>
                    <a:lnTo>
                      <a:pt x="1729" y="4412"/>
                    </a:lnTo>
                    <a:lnTo>
                      <a:pt x="1776" y="4427"/>
                    </a:lnTo>
                    <a:lnTo>
                      <a:pt x="1825" y="4444"/>
                    </a:lnTo>
                    <a:lnTo>
                      <a:pt x="1872" y="4459"/>
                    </a:lnTo>
                    <a:lnTo>
                      <a:pt x="1919" y="4476"/>
                    </a:lnTo>
                    <a:lnTo>
                      <a:pt x="1963" y="4496"/>
                    </a:lnTo>
                    <a:lnTo>
                      <a:pt x="2005" y="4520"/>
                    </a:lnTo>
                    <a:lnTo>
                      <a:pt x="2014" y="4519"/>
                    </a:lnTo>
                    <a:lnTo>
                      <a:pt x="2022" y="4525"/>
                    </a:lnTo>
                    <a:lnTo>
                      <a:pt x="2030" y="4534"/>
                    </a:lnTo>
                    <a:lnTo>
                      <a:pt x="2039" y="4540"/>
                    </a:lnTo>
                    <a:lnTo>
                      <a:pt x="1977" y="4530"/>
                    </a:lnTo>
                    <a:lnTo>
                      <a:pt x="1918" y="4517"/>
                    </a:lnTo>
                    <a:lnTo>
                      <a:pt x="1858" y="4500"/>
                    </a:lnTo>
                    <a:lnTo>
                      <a:pt x="1799" y="4484"/>
                    </a:lnTo>
                    <a:lnTo>
                      <a:pt x="1740" y="4464"/>
                    </a:lnTo>
                    <a:lnTo>
                      <a:pt x="1684" y="4446"/>
                    </a:lnTo>
                    <a:lnTo>
                      <a:pt x="1626" y="4425"/>
                    </a:lnTo>
                    <a:lnTo>
                      <a:pt x="1570" y="4406"/>
                    </a:lnTo>
                    <a:lnTo>
                      <a:pt x="1477" y="4351"/>
                    </a:lnTo>
                    <a:lnTo>
                      <a:pt x="1389" y="4295"/>
                    </a:lnTo>
                    <a:lnTo>
                      <a:pt x="1301" y="4234"/>
                    </a:lnTo>
                    <a:lnTo>
                      <a:pt x="1214" y="4174"/>
                    </a:lnTo>
                    <a:lnTo>
                      <a:pt x="1127" y="4112"/>
                    </a:lnTo>
                    <a:lnTo>
                      <a:pt x="1040" y="4053"/>
                    </a:lnTo>
                    <a:lnTo>
                      <a:pt x="952" y="3996"/>
                    </a:lnTo>
                    <a:lnTo>
                      <a:pt x="864" y="3943"/>
                    </a:lnTo>
                    <a:lnTo>
                      <a:pt x="777" y="3878"/>
                    </a:lnTo>
                    <a:lnTo>
                      <a:pt x="696" y="3811"/>
                    </a:lnTo>
                    <a:lnTo>
                      <a:pt x="620" y="3739"/>
                    </a:lnTo>
                    <a:lnTo>
                      <a:pt x="550" y="3665"/>
                    </a:lnTo>
                    <a:lnTo>
                      <a:pt x="481" y="3587"/>
                    </a:lnTo>
                    <a:lnTo>
                      <a:pt x="418" y="3507"/>
                    </a:lnTo>
                    <a:lnTo>
                      <a:pt x="357" y="3423"/>
                    </a:lnTo>
                    <a:lnTo>
                      <a:pt x="300" y="3338"/>
                    </a:lnTo>
                    <a:lnTo>
                      <a:pt x="269" y="3281"/>
                    </a:lnTo>
                    <a:lnTo>
                      <a:pt x="241" y="3224"/>
                    </a:lnTo>
                    <a:lnTo>
                      <a:pt x="215" y="3165"/>
                    </a:lnTo>
                    <a:lnTo>
                      <a:pt x="191" y="3108"/>
                    </a:lnTo>
                    <a:lnTo>
                      <a:pt x="167" y="3048"/>
                    </a:lnTo>
                    <a:lnTo>
                      <a:pt x="144" y="2989"/>
                    </a:lnTo>
                    <a:lnTo>
                      <a:pt x="121" y="2929"/>
                    </a:lnTo>
                    <a:lnTo>
                      <a:pt x="101" y="2871"/>
                    </a:lnTo>
                    <a:lnTo>
                      <a:pt x="93" y="2772"/>
                    </a:lnTo>
                    <a:lnTo>
                      <a:pt x="92" y="2674"/>
                    </a:lnTo>
                    <a:lnTo>
                      <a:pt x="92" y="2575"/>
                    </a:lnTo>
                    <a:lnTo>
                      <a:pt x="95" y="2477"/>
                    </a:lnTo>
                    <a:lnTo>
                      <a:pt x="96" y="2378"/>
                    </a:lnTo>
                    <a:lnTo>
                      <a:pt x="97" y="2283"/>
                    </a:lnTo>
                    <a:lnTo>
                      <a:pt x="94" y="2187"/>
                    </a:lnTo>
                    <a:lnTo>
                      <a:pt x="89" y="2096"/>
                    </a:lnTo>
                    <a:lnTo>
                      <a:pt x="87" y="2015"/>
                    </a:lnTo>
                    <a:lnTo>
                      <a:pt x="89" y="1935"/>
                    </a:lnTo>
                    <a:lnTo>
                      <a:pt x="92" y="1854"/>
                    </a:lnTo>
                    <a:lnTo>
                      <a:pt x="95" y="1775"/>
                    </a:lnTo>
                    <a:lnTo>
                      <a:pt x="97" y="1693"/>
                    </a:lnTo>
                    <a:lnTo>
                      <a:pt x="96" y="1614"/>
                    </a:lnTo>
                    <a:lnTo>
                      <a:pt x="92" y="1534"/>
                    </a:lnTo>
                    <a:lnTo>
                      <a:pt x="82" y="1454"/>
                    </a:lnTo>
                    <a:lnTo>
                      <a:pt x="75" y="1310"/>
                    </a:lnTo>
                    <a:lnTo>
                      <a:pt x="68" y="1166"/>
                    </a:lnTo>
                    <a:lnTo>
                      <a:pt x="61" y="1021"/>
                    </a:lnTo>
                    <a:lnTo>
                      <a:pt x="55" y="877"/>
                    </a:lnTo>
                    <a:lnTo>
                      <a:pt x="47" y="731"/>
                    </a:lnTo>
                    <a:lnTo>
                      <a:pt x="40" y="587"/>
                    </a:lnTo>
                    <a:lnTo>
                      <a:pt x="32" y="442"/>
                    </a:lnTo>
                    <a:lnTo>
                      <a:pt x="25" y="297"/>
                    </a:lnTo>
                    <a:lnTo>
                      <a:pt x="21" y="260"/>
                    </a:lnTo>
                    <a:lnTo>
                      <a:pt x="18" y="224"/>
                    </a:lnTo>
                    <a:lnTo>
                      <a:pt x="14" y="187"/>
                    </a:lnTo>
                    <a:lnTo>
                      <a:pt x="10" y="150"/>
                    </a:lnTo>
                    <a:lnTo>
                      <a:pt x="5" y="112"/>
                    </a:lnTo>
                    <a:lnTo>
                      <a:pt x="2" y="75"/>
                    </a:lnTo>
                    <a:lnTo>
                      <a:pt x="0" y="37"/>
                    </a:lnTo>
                    <a:lnTo>
                      <a:pt x="0" y="0"/>
                    </a:lnTo>
                    <a:lnTo>
                      <a:pt x="46" y="75"/>
                    </a:lnTo>
                    <a:lnTo>
                      <a:pt x="82" y="159"/>
                    </a:lnTo>
                    <a:lnTo>
                      <a:pt x="106" y="249"/>
                    </a:lnTo>
                    <a:lnTo>
                      <a:pt x="125" y="343"/>
                    </a:lnTo>
                    <a:lnTo>
                      <a:pt x="134" y="440"/>
                    </a:lnTo>
                    <a:lnTo>
                      <a:pt x="141" y="538"/>
                    </a:lnTo>
                    <a:lnTo>
                      <a:pt x="145" y="633"/>
                    </a:lnTo>
                    <a:lnTo>
                      <a:pt x="152" y="729"/>
                    </a:lnTo>
                    <a:close/>
                  </a:path>
                </a:pathLst>
              </a:custGeom>
              <a:solidFill>
                <a:srgbClr val="DE1A00"/>
              </a:solidFill>
              <a:ln w="9525">
                <a:noFill/>
                <a:round/>
                <a:headEnd/>
                <a:tailEnd/>
              </a:ln>
            </p:spPr>
            <p:txBody>
              <a:bodyPr/>
              <a:lstStyle/>
              <a:p>
                <a:pPr>
                  <a:defRPr/>
                </a:pPr>
                <a:endParaRPr lang="en-US" dirty="0">
                  <a:cs typeface="+mn-cs"/>
                </a:endParaRPr>
              </a:p>
            </p:txBody>
          </p:sp>
          <p:sp>
            <p:nvSpPr>
              <p:cNvPr id="64" name="Freeform 1110"/>
              <p:cNvSpPr>
                <a:spLocks/>
              </p:cNvSpPr>
              <p:nvPr/>
            </p:nvSpPr>
            <p:spPr bwMode="auto">
              <a:xfrm>
                <a:off x="4109" y="2524"/>
                <a:ext cx="510" cy="1135"/>
              </a:xfrm>
              <a:custGeom>
                <a:avLst/>
                <a:gdLst>
                  <a:gd name="T0" fmla="*/ 0 w 2039"/>
                  <a:gd name="T1" fmla="*/ 0 h 4540"/>
                  <a:gd name="T2" fmla="*/ 0 w 2039"/>
                  <a:gd name="T3" fmla="*/ 0 h 4540"/>
                  <a:gd name="T4" fmla="*/ 0 w 2039"/>
                  <a:gd name="T5" fmla="*/ 0 h 4540"/>
                  <a:gd name="T6" fmla="*/ 0 w 2039"/>
                  <a:gd name="T7" fmla="*/ 0 h 4540"/>
                  <a:gd name="T8" fmla="*/ 0 w 2039"/>
                  <a:gd name="T9" fmla="*/ 0 h 4540"/>
                  <a:gd name="T10" fmla="*/ 0 w 2039"/>
                  <a:gd name="T11" fmla="*/ 0 h 4540"/>
                  <a:gd name="T12" fmla="*/ 0 w 2039"/>
                  <a:gd name="T13" fmla="*/ 0 h 4540"/>
                  <a:gd name="T14" fmla="*/ 0 w 2039"/>
                  <a:gd name="T15" fmla="*/ 0 h 4540"/>
                  <a:gd name="T16" fmla="*/ 0 w 2039"/>
                  <a:gd name="T17" fmla="*/ 0 h 4540"/>
                  <a:gd name="T18" fmla="*/ 0 w 2039"/>
                  <a:gd name="T19" fmla="*/ 0 h 4540"/>
                  <a:gd name="T20" fmla="*/ 0 w 2039"/>
                  <a:gd name="T21" fmla="*/ 0 h 4540"/>
                  <a:gd name="T22" fmla="*/ 0 w 2039"/>
                  <a:gd name="T23" fmla="*/ 0 h 4540"/>
                  <a:gd name="T24" fmla="*/ 0 w 2039"/>
                  <a:gd name="T25" fmla="*/ 0 h 4540"/>
                  <a:gd name="T26" fmla="*/ 0 w 2039"/>
                  <a:gd name="T27" fmla="*/ 0 h 4540"/>
                  <a:gd name="T28" fmla="*/ 0 w 2039"/>
                  <a:gd name="T29" fmla="*/ 0 h 4540"/>
                  <a:gd name="T30" fmla="*/ 0 w 2039"/>
                  <a:gd name="T31" fmla="*/ 0 h 4540"/>
                  <a:gd name="T32" fmla="*/ 0 w 2039"/>
                  <a:gd name="T33" fmla="*/ 0 h 4540"/>
                  <a:gd name="T34" fmla="*/ 0 w 2039"/>
                  <a:gd name="T35" fmla="*/ 0 h 4540"/>
                  <a:gd name="T36" fmla="*/ 0 w 2039"/>
                  <a:gd name="T37" fmla="*/ 0 h 4540"/>
                  <a:gd name="T38" fmla="*/ 0 w 2039"/>
                  <a:gd name="T39" fmla="*/ 0 h 4540"/>
                  <a:gd name="T40" fmla="*/ 0 w 2039"/>
                  <a:gd name="T41" fmla="*/ 0 h 4540"/>
                  <a:gd name="T42" fmla="*/ 0 w 2039"/>
                  <a:gd name="T43" fmla="*/ 0 h 4540"/>
                  <a:gd name="T44" fmla="*/ 0 w 2039"/>
                  <a:gd name="T45" fmla="*/ 0 h 4540"/>
                  <a:gd name="T46" fmla="*/ 0 w 2039"/>
                  <a:gd name="T47" fmla="*/ 0 h 4540"/>
                  <a:gd name="T48" fmla="*/ 0 w 2039"/>
                  <a:gd name="T49" fmla="*/ 0 h 4540"/>
                  <a:gd name="T50" fmla="*/ 0 w 2039"/>
                  <a:gd name="T51" fmla="*/ 0 h 4540"/>
                  <a:gd name="T52" fmla="*/ 0 w 2039"/>
                  <a:gd name="T53" fmla="*/ 0 h 4540"/>
                  <a:gd name="T54" fmla="*/ 0 w 2039"/>
                  <a:gd name="T55" fmla="*/ 0 h 4540"/>
                  <a:gd name="T56" fmla="*/ 0 w 2039"/>
                  <a:gd name="T57" fmla="*/ 0 h 4540"/>
                  <a:gd name="T58" fmla="*/ 0 w 2039"/>
                  <a:gd name="T59" fmla="*/ 0 h 4540"/>
                  <a:gd name="T60" fmla="*/ 0 w 2039"/>
                  <a:gd name="T61" fmla="*/ 0 h 4540"/>
                  <a:gd name="T62" fmla="*/ 0 w 2039"/>
                  <a:gd name="T63" fmla="*/ 0 h 4540"/>
                  <a:gd name="T64" fmla="*/ 0 w 2039"/>
                  <a:gd name="T65" fmla="*/ 0 h 4540"/>
                  <a:gd name="T66" fmla="*/ 0 w 2039"/>
                  <a:gd name="T67" fmla="*/ 0 h 4540"/>
                  <a:gd name="T68" fmla="*/ 0 w 2039"/>
                  <a:gd name="T69" fmla="*/ 0 h 4540"/>
                  <a:gd name="T70" fmla="*/ 0 w 2039"/>
                  <a:gd name="T71" fmla="*/ 0 h 4540"/>
                  <a:gd name="T72" fmla="*/ 0 w 2039"/>
                  <a:gd name="T73" fmla="*/ 0 h 4540"/>
                  <a:gd name="T74" fmla="*/ 0 w 2039"/>
                  <a:gd name="T75" fmla="*/ 0 h 4540"/>
                  <a:gd name="T76" fmla="*/ 0 w 2039"/>
                  <a:gd name="T77" fmla="*/ 0 h 4540"/>
                  <a:gd name="T78" fmla="*/ 0 w 2039"/>
                  <a:gd name="T79" fmla="*/ 0 h 4540"/>
                  <a:gd name="T80" fmla="*/ 0 w 2039"/>
                  <a:gd name="T81" fmla="*/ 0 h 4540"/>
                  <a:gd name="T82" fmla="*/ 0 w 2039"/>
                  <a:gd name="T83" fmla="*/ 0 h 4540"/>
                  <a:gd name="T84" fmla="*/ 0 w 2039"/>
                  <a:gd name="T85" fmla="*/ 0 h 4540"/>
                  <a:gd name="T86" fmla="*/ 0 w 2039"/>
                  <a:gd name="T87" fmla="*/ 0 h 4540"/>
                  <a:gd name="T88" fmla="*/ 0 w 2039"/>
                  <a:gd name="T89" fmla="*/ 0 h 4540"/>
                  <a:gd name="T90" fmla="*/ 0 w 2039"/>
                  <a:gd name="T91" fmla="*/ 0 h 4540"/>
                  <a:gd name="T92" fmla="*/ 0 w 2039"/>
                  <a:gd name="T93" fmla="*/ 0 h 4540"/>
                  <a:gd name="T94" fmla="*/ 0 w 2039"/>
                  <a:gd name="T95" fmla="*/ 0 h 4540"/>
                  <a:gd name="T96" fmla="*/ 0 w 2039"/>
                  <a:gd name="T97" fmla="*/ 0 h 4540"/>
                  <a:gd name="T98" fmla="*/ 0 w 2039"/>
                  <a:gd name="T99" fmla="*/ 0 h 4540"/>
                  <a:gd name="T100" fmla="*/ 0 w 2039"/>
                  <a:gd name="T101" fmla="*/ 0 h 4540"/>
                  <a:gd name="T102" fmla="*/ 0 w 2039"/>
                  <a:gd name="T103" fmla="*/ 0 h 45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9"/>
                  <a:gd name="T157" fmla="*/ 0 h 4540"/>
                  <a:gd name="T158" fmla="*/ 2039 w 2039"/>
                  <a:gd name="T159" fmla="*/ 4540 h 45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9" h="4540">
                    <a:moveTo>
                      <a:pt x="135" y="746"/>
                    </a:moveTo>
                    <a:lnTo>
                      <a:pt x="131" y="799"/>
                    </a:lnTo>
                    <a:lnTo>
                      <a:pt x="134" y="851"/>
                    </a:lnTo>
                    <a:lnTo>
                      <a:pt x="142" y="900"/>
                    </a:lnTo>
                    <a:lnTo>
                      <a:pt x="154" y="950"/>
                    </a:lnTo>
                    <a:lnTo>
                      <a:pt x="165" y="998"/>
                    </a:lnTo>
                    <a:lnTo>
                      <a:pt x="176" y="1048"/>
                    </a:lnTo>
                    <a:lnTo>
                      <a:pt x="183" y="1096"/>
                    </a:lnTo>
                    <a:lnTo>
                      <a:pt x="185" y="1149"/>
                    </a:lnTo>
                    <a:lnTo>
                      <a:pt x="194" y="1198"/>
                    </a:lnTo>
                    <a:lnTo>
                      <a:pt x="206" y="1247"/>
                    </a:lnTo>
                    <a:lnTo>
                      <a:pt x="219" y="1294"/>
                    </a:lnTo>
                    <a:lnTo>
                      <a:pt x="233" y="1343"/>
                    </a:lnTo>
                    <a:lnTo>
                      <a:pt x="244" y="1392"/>
                    </a:lnTo>
                    <a:lnTo>
                      <a:pt x="252" y="1441"/>
                    </a:lnTo>
                    <a:lnTo>
                      <a:pt x="255" y="1492"/>
                    </a:lnTo>
                    <a:lnTo>
                      <a:pt x="254" y="1545"/>
                    </a:lnTo>
                    <a:lnTo>
                      <a:pt x="256" y="1601"/>
                    </a:lnTo>
                    <a:lnTo>
                      <a:pt x="265" y="1656"/>
                    </a:lnTo>
                    <a:lnTo>
                      <a:pt x="277" y="1710"/>
                    </a:lnTo>
                    <a:lnTo>
                      <a:pt x="292" y="1764"/>
                    </a:lnTo>
                    <a:lnTo>
                      <a:pt x="306" y="1816"/>
                    </a:lnTo>
                    <a:lnTo>
                      <a:pt x="321" y="1871"/>
                    </a:lnTo>
                    <a:lnTo>
                      <a:pt x="333" y="1926"/>
                    </a:lnTo>
                    <a:lnTo>
                      <a:pt x="342" y="1984"/>
                    </a:lnTo>
                    <a:lnTo>
                      <a:pt x="363" y="2061"/>
                    </a:lnTo>
                    <a:lnTo>
                      <a:pt x="381" y="2141"/>
                    </a:lnTo>
                    <a:lnTo>
                      <a:pt x="395" y="2222"/>
                    </a:lnTo>
                    <a:lnTo>
                      <a:pt x="411" y="2303"/>
                    </a:lnTo>
                    <a:lnTo>
                      <a:pt x="425" y="2384"/>
                    </a:lnTo>
                    <a:lnTo>
                      <a:pt x="442" y="2464"/>
                    </a:lnTo>
                    <a:lnTo>
                      <a:pt x="463" y="2542"/>
                    </a:lnTo>
                    <a:lnTo>
                      <a:pt x="491" y="2622"/>
                    </a:lnTo>
                    <a:lnTo>
                      <a:pt x="504" y="2671"/>
                    </a:lnTo>
                    <a:lnTo>
                      <a:pt x="521" y="2722"/>
                    </a:lnTo>
                    <a:lnTo>
                      <a:pt x="540" y="2771"/>
                    </a:lnTo>
                    <a:lnTo>
                      <a:pt x="562" y="2822"/>
                    </a:lnTo>
                    <a:lnTo>
                      <a:pt x="582" y="2871"/>
                    </a:lnTo>
                    <a:lnTo>
                      <a:pt x="604" y="2921"/>
                    </a:lnTo>
                    <a:lnTo>
                      <a:pt x="625" y="2969"/>
                    </a:lnTo>
                    <a:lnTo>
                      <a:pt x="645" y="3017"/>
                    </a:lnTo>
                    <a:lnTo>
                      <a:pt x="694" y="3102"/>
                    </a:lnTo>
                    <a:lnTo>
                      <a:pt x="744" y="3189"/>
                    </a:lnTo>
                    <a:lnTo>
                      <a:pt x="792" y="3275"/>
                    </a:lnTo>
                    <a:lnTo>
                      <a:pt x="840" y="3362"/>
                    </a:lnTo>
                    <a:lnTo>
                      <a:pt x="887" y="3448"/>
                    </a:lnTo>
                    <a:lnTo>
                      <a:pt x="935" y="3534"/>
                    </a:lnTo>
                    <a:lnTo>
                      <a:pt x="984" y="3620"/>
                    </a:lnTo>
                    <a:lnTo>
                      <a:pt x="1036" y="3706"/>
                    </a:lnTo>
                    <a:lnTo>
                      <a:pt x="1042" y="3715"/>
                    </a:lnTo>
                    <a:lnTo>
                      <a:pt x="1048" y="3726"/>
                    </a:lnTo>
                    <a:lnTo>
                      <a:pt x="1052" y="3738"/>
                    </a:lnTo>
                    <a:lnTo>
                      <a:pt x="1056" y="3750"/>
                    </a:lnTo>
                    <a:lnTo>
                      <a:pt x="1060" y="3761"/>
                    </a:lnTo>
                    <a:lnTo>
                      <a:pt x="1065" y="3772"/>
                    </a:lnTo>
                    <a:lnTo>
                      <a:pt x="1072" y="3781"/>
                    </a:lnTo>
                    <a:lnTo>
                      <a:pt x="1084" y="3788"/>
                    </a:lnTo>
                    <a:lnTo>
                      <a:pt x="1118" y="3843"/>
                    </a:lnTo>
                    <a:lnTo>
                      <a:pt x="1158" y="3897"/>
                    </a:lnTo>
                    <a:lnTo>
                      <a:pt x="1198" y="3950"/>
                    </a:lnTo>
                    <a:lnTo>
                      <a:pt x="1241" y="4005"/>
                    </a:lnTo>
                    <a:lnTo>
                      <a:pt x="1284" y="4057"/>
                    </a:lnTo>
                    <a:lnTo>
                      <a:pt x="1327" y="4109"/>
                    </a:lnTo>
                    <a:lnTo>
                      <a:pt x="1371" y="4161"/>
                    </a:lnTo>
                    <a:lnTo>
                      <a:pt x="1414" y="4214"/>
                    </a:lnTo>
                    <a:lnTo>
                      <a:pt x="1441" y="4232"/>
                    </a:lnTo>
                    <a:lnTo>
                      <a:pt x="1470" y="4251"/>
                    </a:lnTo>
                    <a:lnTo>
                      <a:pt x="1498" y="4271"/>
                    </a:lnTo>
                    <a:lnTo>
                      <a:pt x="1526" y="4294"/>
                    </a:lnTo>
                    <a:lnTo>
                      <a:pt x="1551" y="4317"/>
                    </a:lnTo>
                    <a:lnTo>
                      <a:pt x="1577" y="4342"/>
                    </a:lnTo>
                    <a:lnTo>
                      <a:pt x="1601" y="4368"/>
                    </a:lnTo>
                    <a:lnTo>
                      <a:pt x="1625" y="4396"/>
                    </a:lnTo>
                    <a:lnTo>
                      <a:pt x="1667" y="4412"/>
                    </a:lnTo>
                    <a:lnTo>
                      <a:pt x="1715" y="4426"/>
                    </a:lnTo>
                    <a:lnTo>
                      <a:pt x="1765" y="4439"/>
                    </a:lnTo>
                    <a:lnTo>
                      <a:pt x="1816" y="4452"/>
                    </a:lnTo>
                    <a:lnTo>
                      <a:pt x="1866" y="4464"/>
                    </a:lnTo>
                    <a:lnTo>
                      <a:pt x="1916" y="4480"/>
                    </a:lnTo>
                    <a:lnTo>
                      <a:pt x="1962" y="4497"/>
                    </a:lnTo>
                    <a:lnTo>
                      <a:pt x="2005" y="4520"/>
                    </a:lnTo>
                    <a:lnTo>
                      <a:pt x="2014" y="4519"/>
                    </a:lnTo>
                    <a:lnTo>
                      <a:pt x="2022" y="4525"/>
                    </a:lnTo>
                    <a:lnTo>
                      <a:pt x="2030" y="4534"/>
                    </a:lnTo>
                    <a:lnTo>
                      <a:pt x="2039" y="4540"/>
                    </a:lnTo>
                    <a:lnTo>
                      <a:pt x="1977" y="4530"/>
                    </a:lnTo>
                    <a:lnTo>
                      <a:pt x="1918" y="4517"/>
                    </a:lnTo>
                    <a:lnTo>
                      <a:pt x="1858" y="4500"/>
                    </a:lnTo>
                    <a:lnTo>
                      <a:pt x="1799" y="4484"/>
                    </a:lnTo>
                    <a:lnTo>
                      <a:pt x="1740" y="4464"/>
                    </a:lnTo>
                    <a:lnTo>
                      <a:pt x="1684" y="4446"/>
                    </a:lnTo>
                    <a:lnTo>
                      <a:pt x="1626" y="4425"/>
                    </a:lnTo>
                    <a:lnTo>
                      <a:pt x="1570" y="4406"/>
                    </a:lnTo>
                    <a:lnTo>
                      <a:pt x="1477" y="4351"/>
                    </a:lnTo>
                    <a:lnTo>
                      <a:pt x="1389" y="4295"/>
                    </a:lnTo>
                    <a:lnTo>
                      <a:pt x="1301" y="4234"/>
                    </a:lnTo>
                    <a:lnTo>
                      <a:pt x="1214" y="4174"/>
                    </a:lnTo>
                    <a:lnTo>
                      <a:pt x="1127" y="4112"/>
                    </a:lnTo>
                    <a:lnTo>
                      <a:pt x="1040" y="4053"/>
                    </a:lnTo>
                    <a:lnTo>
                      <a:pt x="952" y="3996"/>
                    </a:lnTo>
                    <a:lnTo>
                      <a:pt x="864" y="3943"/>
                    </a:lnTo>
                    <a:lnTo>
                      <a:pt x="777" y="3878"/>
                    </a:lnTo>
                    <a:lnTo>
                      <a:pt x="696" y="3811"/>
                    </a:lnTo>
                    <a:lnTo>
                      <a:pt x="620" y="3739"/>
                    </a:lnTo>
                    <a:lnTo>
                      <a:pt x="550" y="3665"/>
                    </a:lnTo>
                    <a:lnTo>
                      <a:pt x="481" y="3587"/>
                    </a:lnTo>
                    <a:lnTo>
                      <a:pt x="418" y="3507"/>
                    </a:lnTo>
                    <a:lnTo>
                      <a:pt x="357" y="3423"/>
                    </a:lnTo>
                    <a:lnTo>
                      <a:pt x="300" y="3338"/>
                    </a:lnTo>
                    <a:lnTo>
                      <a:pt x="269" y="3281"/>
                    </a:lnTo>
                    <a:lnTo>
                      <a:pt x="241" y="3224"/>
                    </a:lnTo>
                    <a:lnTo>
                      <a:pt x="215" y="3165"/>
                    </a:lnTo>
                    <a:lnTo>
                      <a:pt x="191" y="3108"/>
                    </a:lnTo>
                    <a:lnTo>
                      <a:pt x="167" y="3048"/>
                    </a:lnTo>
                    <a:lnTo>
                      <a:pt x="144" y="2989"/>
                    </a:lnTo>
                    <a:lnTo>
                      <a:pt x="121" y="2929"/>
                    </a:lnTo>
                    <a:lnTo>
                      <a:pt x="101" y="2871"/>
                    </a:lnTo>
                    <a:lnTo>
                      <a:pt x="93" y="2772"/>
                    </a:lnTo>
                    <a:lnTo>
                      <a:pt x="92" y="2674"/>
                    </a:lnTo>
                    <a:lnTo>
                      <a:pt x="92" y="2575"/>
                    </a:lnTo>
                    <a:lnTo>
                      <a:pt x="95" y="2477"/>
                    </a:lnTo>
                    <a:lnTo>
                      <a:pt x="96" y="2378"/>
                    </a:lnTo>
                    <a:lnTo>
                      <a:pt x="97" y="2283"/>
                    </a:lnTo>
                    <a:lnTo>
                      <a:pt x="94" y="2187"/>
                    </a:lnTo>
                    <a:lnTo>
                      <a:pt x="89" y="2096"/>
                    </a:lnTo>
                    <a:lnTo>
                      <a:pt x="87" y="2015"/>
                    </a:lnTo>
                    <a:lnTo>
                      <a:pt x="89" y="1935"/>
                    </a:lnTo>
                    <a:lnTo>
                      <a:pt x="92" y="1854"/>
                    </a:lnTo>
                    <a:lnTo>
                      <a:pt x="95" y="1775"/>
                    </a:lnTo>
                    <a:lnTo>
                      <a:pt x="97" y="1693"/>
                    </a:lnTo>
                    <a:lnTo>
                      <a:pt x="96" y="1614"/>
                    </a:lnTo>
                    <a:lnTo>
                      <a:pt x="92" y="1534"/>
                    </a:lnTo>
                    <a:lnTo>
                      <a:pt x="82" y="1454"/>
                    </a:lnTo>
                    <a:lnTo>
                      <a:pt x="75" y="1310"/>
                    </a:lnTo>
                    <a:lnTo>
                      <a:pt x="68" y="1166"/>
                    </a:lnTo>
                    <a:lnTo>
                      <a:pt x="61" y="1021"/>
                    </a:lnTo>
                    <a:lnTo>
                      <a:pt x="55" y="877"/>
                    </a:lnTo>
                    <a:lnTo>
                      <a:pt x="47" y="731"/>
                    </a:lnTo>
                    <a:lnTo>
                      <a:pt x="40" y="587"/>
                    </a:lnTo>
                    <a:lnTo>
                      <a:pt x="32" y="442"/>
                    </a:lnTo>
                    <a:lnTo>
                      <a:pt x="25" y="297"/>
                    </a:lnTo>
                    <a:lnTo>
                      <a:pt x="21" y="260"/>
                    </a:lnTo>
                    <a:lnTo>
                      <a:pt x="18" y="224"/>
                    </a:lnTo>
                    <a:lnTo>
                      <a:pt x="14" y="187"/>
                    </a:lnTo>
                    <a:lnTo>
                      <a:pt x="10" y="150"/>
                    </a:lnTo>
                    <a:lnTo>
                      <a:pt x="5" y="112"/>
                    </a:lnTo>
                    <a:lnTo>
                      <a:pt x="2" y="75"/>
                    </a:lnTo>
                    <a:lnTo>
                      <a:pt x="0" y="37"/>
                    </a:lnTo>
                    <a:lnTo>
                      <a:pt x="0" y="0"/>
                    </a:lnTo>
                    <a:lnTo>
                      <a:pt x="46" y="76"/>
                    </a:lnTo>
                    <a:lnTo>
                      <a:pt x="80" y="162"/>
                    </a:lnTo>
                    <a:lnTo>
                      <a:pt x="102" y="254"/>
                    </a:lnTo>
                    <a:lnTo>
                      <a:pt x="116" y="352"/>
                    </a:lnTo>
                    <a:lnTo>
                      <a:pt x="122" y="451"/>
                    </a:lnTo>
                    <a:lnTo>
                      <a:pt x="127" y="552"/>
                    </a:lnTo>
                    <a:lnTo>
                      <a:pt x="130" y="651"/>
                    </a:lnTo>
                    <a:lnTo>
                      <a:pt x="135" y="746"/>
                    </a:lnTo>
                    <a:close/>
                  </a:path>
                </a:pathLst>
              </a:custGeom>
              <a:solidFill>
                <a:srgbClr val="E91A00"/>
              </a:solidFill>
              <a:ln w="9525">
                <a:noFill/>
                <a:round/>
                <a:headEnd/>
                <a:tailEnd/>
              </a:ln>
            </p:spPr>
            <p:txBody>
              <a:bodyPr/>
              <a:lstStyle/>
              <a:p>
                <a:pPr>
                  <a:defRPr/>
                </a:pPr>
                <a:endParaRPr lang="en-US" dirty="0">
                  <a:cs typeface="+mn-cs"/>
                </a:endParaRPr>
              </a:p>
            </p:txBody>
          </p:sp>
          <p:sp>
            <p:nvSpPr>
              <p:cNvPr id="65" name="Freeform 1111"/>
              <p:cNvSpPr>
                <a:spLocks/>
              </p:cNvSpPr>
              <p:nvPr/>
            </p:nvSpPr>
            <p:spPr bwMode="auto">
              <a:xfrm>
                <a:off x="4109" y="2524"/>
                <a:ext cx="510" cy="1135"/>
              </a:xfrm>
              <a:custGeom>
                <a:avLst/>
                <a:gdLst>
                  <a:gd name="T0" fmla="*/ 0 w 2039"/>
                  <a:gd name="T1" fmla="*/ 0 h 4540"/>
                  <a:gd name="T2" fmla="*/ 0 w 2039"/>
                  <a:gd name="T3" fmla="*/ 0 h 4540"/>
                  <a:gd name="T4" fmla="*/ 0 w 2039"/>
                  <a:gd name="T5" fmla="*/ 0 h 4540"/>
                  <a:gd name="T6" fmla="*/ 0 w 2039"/>
                  <a:gd name="T7" fmla="*/ 0 h 4540"/>
                  <a:gd name="T8" fmla="*/ 0 w 2039"/>
                  <a:gd name="T9" fmla="*/ 0 h 4540"/>
                  <a:gd name="T10" fmla="*/ 0 w 2039"/>
                  <a:gd name="T11" fmla="*/ 0 h 4540"/>
                  <a:gd name="T12" fmla="*/ 0 w 2039"/>
                  <a:gd name="T13" fmla="*/ 0 h 4540"/>
                  <a:gd name="T14" fmla="*/ 0 w 2039"/>
                  <a:gd name="T15" fmla="*/ 0 h 4540"/>
                  <a:gd name="T16" fmla="*/ 0 w 2039"/>
                  <a:gd name="T17" fmla="*/ 0 h 4540"/>
                  <a:gd name="T18" fmla="*/ 0 w 2039"/>
                  <a:gd name="T19" fmla="*/ 0 h 4540"/>
                  <a:gd name="T20" fmla="*/ 0 w 2039"/>
                  <a:gd name="T21" fmla="*/ 0 h 4540"/>
                  <a:gd name="T22" fmla="*/ 0 w 2039"/>
                  <a:gd name="T23" fmla="*/ 0 h 4540"/>
                  <a:gd name="T24" fmla="*/ 0 w 2039"/>
                  <a:gd name="T25" fmla="*/ 0 h 4540"/>
                  <a:gd name="T26" fmla="*/ 0 w 2039"/>
                  <a:gd name="T27" fmla="*/ 0 h 4540"/>
                  <a:gd name="T28" fmla="*/ 0 w 2039"/>
                  <a:gd name="T29" fmla="*/ 0 h 4540"/>
                  <a:gd name="T30" fmla="*/ 0 w 2039"/>
                  <a:gd name="T31" fmla="*/ 0 h 4540"/>
                  <a:gd name="T32" fmla="*/ 0 w 2039"/>
                  <a:gd name="T33" fmla="*/ 0 h 4540"/>
                  <a:gd name="T34" fmla="*/ 0 w 2039"/>
                  <a:gd name="T35" fmla="*/ 0 h 4540"/>
                  <a:gd name="T36" fmla="*/ 0 w 2039"/>
                  <a:gd name="T37" fmla="*/ 0 h 4540"/>
                  <a:gd name="T38" fmla="*/ 0 w 2039"/>
                  <a:gd name="T39" fmla="*/ 0 h 4540"/>
                  <a:gd name="T40" fmla="*/ 0 w 2039"/>
                  <a:gd name="T41" fmla="*/ 0 h 4540"/>
                  <a:gd name="T42" fmla="*/ 0 w 2039"/>
                  <a:gd name="T43" fmla="*/ 0 h 4540"/>
                  <a:gd name="T44" fmla="*/ 0 w 2039"/>
                  <a:gd name="T45" fmla="*/ 0 h 4540"/>
                  <a:gd name="T46" fmla="*/ 0 w 2039"/>
                  <a:gd name="T47" fmla="*/ 0 h 4540"/>
                  <a:gd name="T48" fmla="*/ 0 w 2039"/>
                  <a:gd name="T49" fmla="*/ 0 h 4540"/>
                  <a:gd name="T50" fmla="*/ 0 w 2039"/>
                  <a:gd name="T51" fmla="*/ 0 h 4540"/>
                  <a:gd name="T52" fmla="*/ 0 w 2039"/>
                  <a:gd name="T53" fmla="*/ 0 h 4540"/>
                  <a:gd name="T54" fmla="*/ 0 w 2039"/>
                  <a:gd name="T55" fmla="*/ 0 h 4540"/>
                  <a:gd name="T56" fmla="*/ 0 w 2039"/>
                  <a:gd name="T57" fmla="*/ 0 h 4540"/>
                  <a:gd name="T58" fmla="*/ 0 w 2039"/>
                  <a:gd name="T59" fmla="*/ 0 h 4540"/>
                  <a:gd name="T60" fmla="*/ 0 w 2039"/>
                  <a:gd name="T61" fmla="*/ 0 h 4540"/>
                  <a:gd name="T62" fmla="*/ 0 w 2039"/>
                  <a:gd name="T63" fmla="*/ 0 h 4540"/>
                  <a:gd name="T64" fmla="*/ 0 w 2039"/>
                  <a:gd name="T65" fmla="*/ 0 h 4540"/>
                  <a:gd name="T66" fmla="*/ 0 w 2039"/>
                  <a:gd name="T67" fmla="*/ 0 h 4540"/>
                  <a:gd name="T68" fmla="*/ 0 w 2039"/>
                  <a:gd name="T69" fmla="*/ 0 h 4540"/>
                  <a:gd name="T70" fmla="*/ 0 w 2039"/>
                  <a:gd name="T71" fmla="*/ 0 h 4540"/>
                  <a:gd name="T72" fmla="*/ 0 w 2039"/>
                  <a:gd name="T73" fmla="*/ 0 h 4540"/>
                  <a:gd name="T74" fmla="*/ 0 w 2039"/>
                  <a:gd name="T75" fmla="*/ 0 h 4540"/>
                  <a:gd name="T76" fmla="*/ 0 w 2039"/>
                  <a:gd name="T77" fmla="*/ 0 h 4540"/>
                  <a:gd name="T78" fmla="*/ 0 w 2039"/>
                  <a:gd name="T79" fmla="*/ 0 h 4540"/>
                  <a:gd name="T80" fmla="*/ 0 w 2039"/>
                  <a:gd name="T81" fmla="*/ 0 h 4540"/>
                  <a:gd name="T82" fmla="*/ 0 w 2039"/>
                  <a:gd name="T83" fmla="*/ 0 h 4540"/>
                  <a:gd name="T84" fmla="*/ 0 w 2039"/>
                  <a:gd name="T85" fmla="*/ 0 h 4540"/>
                  <a:gd name="T86" fmla="*/ 0 w 2039"/>
                  <a:gd name="T87" fmla="*/ 0 h 4540"/>
                  <a:gd name="T88" fmla="*/ 0 w 2039"/>
                  <a:gd name="T89" fmla="*/ 0 h 4540"/>
                  <a:gd name="T90" fmla="*/ 0 w 2039"/>
                  <a:gd name="T91" fmla="*/ 0 h 4540"/>
                  <a:gd name="T92" fmla="*/ 0 w 2039"/>
                  <a:gd name="T93" fmla="*/ 0 h 4540"/>
                  <a:gd name="T94" fmla="*/ 0 w 2039"/>
                  <a:gd name="T95" fmla="*/ 0 h 4540"/>
                  <a:gd name="T96" fmla="*/ 0 w 2039"/>
                  <a:gd name="T97" fmla="*/ 0 h 4540"/>
                  <a:gd name="T98" fmla="*/ 0 w 2039"/>
                  <a:gd name="T99" fmla="*/ 0 h 4540"/>
                  <a:gd name="T100" fmla="*/ 0 w 2039"/>
                  <a:gd name="T101" fmla="*/ 0 h 4540"/>
                  <a:gd name="T102" fmla="*/ 0 w 2039"/>
                  <a:gd name="T103" fmla="*/ 0 h 45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9"/>
                  <a:gd name="T157" fmla="*/ 0 h 4540"/>
                  <a:gd name="T158" fmla="*/ 2039 w 2039"/>
                  <a:gd name="T159" fmla="*/ 4540 h 45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9" h="4540">
                    <a:moveTo>
                      <a:pt x="119" y="763"/>
                    </a:moveTo>
                    <a:lnTo>
                      <a:pt x="115" y="815"/>
                    </a:lnTo>
                    <a:lnTo>
                      <a:pt x="118" y="867"/>
                    </a:lnTo>
                    <a:lnTo>
                      <a:pt x="126" y="916"/>
                    </a:lnTo>
                    <a:lnTo>
                      <a:pt x="138" y="966"/>
                    </a:lnTo>
                    <a:lnTo>
                      <a:pt x="148" y="1014"/>
                    </a:lnTo>
                    <a:lnTo>
                      <a:pt x="159" y="1064"/>
                    </a:lnTo>
                    <a:lnTo>
                      <a:pt x="167" y="1113"/>
                    </a:lnTo>
                    <a:lnTo>
                      <a:pt x="169" y="1165"/>
                    </a:lnTo>
                    <a:lnTo>
                      <a:pt x="178" y="1214"/>
                    </a:lnTo>
                    <a:lnTo>
                      <a:pt x="190" y="1263"/>
                    </a:lnTo>
                    <a:lnTo>
                      <a:pt x="203" y="1311"/>
                    </a:lnTo>
                    <a:lnTo>
                      <a:pt x="217" y="1360"/>
                    </a:lnTo>
                    <a:lnTo>
                      <a:pt x="228" y="1408"/>
                    </a:lnTo>
                    <a:lnTo>
                      <a:pt x="237" y="1457"/>
                    </a:lnTo>
                    <a:lnTo>
                      <a:pt x="240" y="1508"/>
                    </a:lnTo>
                    <a:lnTo>
                      <a:pt x="239" y="1562"/>
                    </a:lnTo>
                    <a:lnTo>
                      <a:pt x="241" y="1617"/>
                    </a:lnTo>
                    <a:lnTo>
                      <a:pt x="250" y="1673"/>
                    </a:lnTo>
                    <a:lnTo>
                      <a:pt x="262" y="1726"/>
                    </a:lnTo>
                    <a:lnTo>
                      <a:pt x="277" y="1780"/>
                    </a:lnTo>
                    <a:lnTo>
                      <a:pt x="291" y="1832"/>
                    </a:lnTo>
                    <a:lnTo>
                      <a:pt x="305" y="1887"/>
                    </a:lnTo>
                    <a:lnTo>
                      <a:pt x="316" y="1941"/>
                    </a:lnTo>
                    <a:lnTo>
                      <a:pt x="325" y="1999"/>
                    </a:lnTo>
                    <a:lnTo>
                      <a:pt x="345" y="2077"/>
                    </a:lnTo>
                    <a:lnTo>
                      <a:pt x="363" y="2158"/>
                    </a:lnTo>
                    <a:lnTo>
                      <a:pt x="376" y="2238"/>
                    </a:lnTo>
                    <a:lnTo>
                      <a:pt x="390" y="2319"/>
                    </a:lnTo>
                    <a:lnTo>
                      <a:pt x="402" y="2400"/>
                    </a:lnTo>
                    <a:lnTo>
                      <a:pt x="418" y="2480"/>
                    </a:lnTo>
                    <a:lnTo>
                      <a:pt x="438" y="2560"/>
                    </a:lnTo>
                    <a:lnTo>
                      <a:pt x="465" y="2639"/>
                    </a:lnTo>
                    <a:lnTo>
                      <a:pt x="479" y="2688"/>
                    </a:lnTo>
                    <a:lnTo>
                      <a:pt x="496" y="2739"/>
                    </a:lnTo>
                    <a:lnTo>
                      <a:pt x="515" y="2790"/>
                    </a:lnTo>
                    <a:lnTo>
                      <a:pt x="538" y="2841"/>
                    </a:lnTo>
                    <a:lnTo>
                      <a:pt x="558" y="2890"/>
                    </a:lnTo>
                    <a:lnTo>
                      <a:pt x="581" y="2940"/>
                    </a:lnTo>
                    <a:lnTo>
                      <a:pt x="602" y="2988"/>
                    </a:lnTo>
                    <a:lnTo>
                      <a:pt x="623" y="3037"/>
                    </a:lnTo>
                    <a:lnTo>
                      <a:pt x="673" y="3122"/>
                    </a:lnTo>
                    <a:lnTo>
                      <a:pt x="723" y="3209"/>
                    </a:lnTo>
                    <a:lnTo>
                      <a:pt x="770" y="3294"/>
                    </a:lnTo>
                    <a:lnTo>
                      <a:pt x="819" y="3381"/>
                    </a:lnTo>
                    <a:lnTo>
                      <a:pt x="867" y="3465"/>
                    </a:lnTo>
                    <a:lnTo>
                      <a:pt x="917" y="3551"/>
                    </a:lnTo>
                    <a:lnTo>
                      <a:pt x="966" y="3636"/>
                    </a:lnTo>
                    <a:lnTo>
                      <a:pt x="1019" y="3722"/>
                    </a:lnTo>
                    <a:lnTo>
                      <a:pt x="1026" y="3731"/>
                    </a:lnTo>
                    <a:lnTo>
                      <a:pt x="1031" y="3743"/>
                    </a:lnTo>
                    <a:lnTo>
                      <a:pt x="1036" y="3753"/>
                    </a:lnTo>
                    <a:lnTo>
                      <a:pt x="1040" y="3766"/>
                    </a:lnTo>
                    <a:lnTo>
                      <a:pt x="1043" y="3776"/>
                    </a:lnTo>
                    <a:lnTo>
                      <a:pt x="1049" y="3787"/>
                    </a:lnTo>
                    <a:lnTo>
                      <a:pt x="1055" y="3796"/>
                    </a:lnTo>
                    <a:lnTo>
                      <a:pt x="1067" y="3805"/>
                    </a:lnTo>
                    <a:lnTo>
                      <a:pt x="1102" y="3859"/>
                    </a:lnTo>
                    <a:lnTo>
                      <a:pt x="1141" y="3913"/>
                    </a:lnTo>
                    <a:lnTo>
                      <a:pt x="1181" y="3966"/>
                    </a:lnTo>
                    <a:lnTo>
                      <a:pt x="1224" y="4021"/>
                    </a:lnTo>
                    <a:lnTo>
                      <a:pt x="1266" y="4073"/>
                    </a:lnTo>
                    <a:lnTo>
                      <a:pt x="1311" y="4125"/>
                    </a:lnTo>
                    <a:lnTo>
                      <a:pt x="1354" y="4177"/>
                    </a:lnTo>
                    <a:lnTo>
                      <a:pt x="1398" y="4231"/>
                    </a:lnTo>
                    <a:lnTo>
                      <a:pt x="1425" y="4248"/>
                    </a:lnTo>
                    <a:lnTo>
                      <a:pt x="1453" y="4268"/>
                    </a:lnTo>
                    <a:lnTo>
                      <a:pt x="1482" y="4287"/>
                    </a:lnTo>
                    <a:lnTo>
                      <a:pt x="1510" y="4310"/>
                    </a:lnTo>
                    <a:lnTo>
                      <a:pt x="1535" y="4333"/>
                    </a:lnTo>
                    <a:lnTo>
                      <a:pt x="1561" y="4358"/>
                    </a:lnTo>
                    <a:lnTo>
                      <a:pt x="1585" y="4384"/>
                    </a:lnTo>
                    <a:lnTo>
                      <a:pt x="1609" y="4412"/>
                    </a:lnTo>
                    <a:lnTo>
                      <a:pt x="1652" y="4427"/>
                    </a:lnTo>
                    <a:lnTo>
                      <a:pt x="1701" y="4440"/>
                    </a:lnTo>
                    <a:lnTo>
                      <a:pt x="1753" y="4450"/>
                    </a:lnTo>
                    <a:lnTo>
                      <a:pt x="1809" y="4460"/>
                    </a:lnTo>
                    <a:lnTo>
                      <a:pt x="1862" y="4470"/>
                    </a:lnTo>
                    <a:lnTo>
                      <a:pt x="1913" y="4482"/>
                    </a:lnTo>
                    <a:lnTo>
                      <a:pt x="1961" y="4498"/>
                    </a:lnTo>
                    <a:lnTo>
                      <a:pt x="2005" y="4520"/>
                    </a:lnTo>
                    <a:lnTo>
                      <a:pt x="2014" y="4519"/>
                    </a:lnTo>
                    <a:lnTo>
                      <a:pt x="2022" y="4525"/>
                    </a:lnTo>
                    <a:lnTo>
                      <a:pt x="2030" y="4534"/>
                    </a:lnTo>
                    <a:lnTo>
                      <a:pt x="2039" y="4540"/>
                    </a:lnTo>
                    <a:lnTo>
                      <a:pt x="1977" y="4530"/>
                    </a:lnTo>
                    <a:lnTo>
                      <a:pt x="1918" y="4517"/>
                    </a:lnTo>
                    <a:lnTo>
                      <a:pt x="1858" y="4500"/>
                    </a:lnTo>
                    <a:lnTo>
                      <a:pt x="1799" y="4484"/>
                    </a:lnTo>
                    <a:lnTo>
                      <a:pt x="1740" y="4464"/>
                    </a:lnTo>
                    <a:lnTo>
                      <a:pt x="1684" y="4446"/>
                    </a:lnTo>
                    <a:lnTo>
                      <a:pt x="1626" y="4425"/>
                    </a:lnTo>
                    <a:lnTo>
                      <a:pt x="1570" y="4406"/>
                    </a:lnTo>
                    <a:lnTo>
                      <a:pt x="1477" y="4351"/>
                    </a:lnTo>
                    <a:lnTo>
                      <a:pt x="1389" y="4295"/>
                    </a:lnTo>
                    <a:lnTo>
                      <a:pt x="1301" y="4234"/>
                    </a:lnTo>
                    <a:lnTo>
                      <a:pt x="1214" y="4174"/>
                    </a:lnTo>
                    <a:lnTo>
                      <a:pt x="1127" y="4112"/>
                    </a:lnTo>
                    <a:lnTo>
                      <a:pt x="1040" y="4053"/>
                    </a:lnTo>
                    <a:lnTo>
                      <a:pt x="952" y="3996"/>
                    </a:lnTo>
                    <a:lnTo>
                      <a:pt x="864" y="3943"/>
                    </a:lnTo>
                    <a:lnTo>
                      <a:pt x="777" y="3878"/>
                    </a:lnTo>
                    <a:lnTo>
                      <a:pt x="696" y="3811"/>
                    </a:lnTo>
                    <a:lnTo>
                      <a:pt x="620" y="3739"/>
                    </a:lnTo>
                    <a:lnTo>
                      <a:pt x="550" y="3665"/>
                    </a:lnTo>
                    <a:lnTo>
                      <a:pt x="481" y="3587"/>
                    </a:lnTo>
                    <a:lnTo>
                      <a:pt x="418" y="3507"/>
                    </a:lnTo>
                    <a:lnTo>
                      <a:pt x="357" y="3423"/>
                    </a:lnTo>
                    <a:lnTo>
                      <a:pt x="300" y="3338"/>
                    </a:lnTo>
                    <a:lnTo>
                      <a:pt x="269" y="3281"/>
                    </a:lnTo>
                    <a:lnTo>
                      <a:pt x="241" y="3224"/>
                    </a:lnTo>
                    <a:lnTo>
                      <a:pt x="215" y="3165"/>
                    </a:lnTo>
                    <a:lnTo>
                      <a:pt x="191" y="3108"/>
                    </a:lnTo>
                    <a:lnTo>
                      <a:pt x="167" y="3048"/>
                    </a:lnTo>
                    <a:lnTo>
                      <a:pt x="144" y="2989"/>
                    </a:lnTo>
                    <a:lnTo>
                      <a:pt x="121" y="2929"/>
                    </a:lnTo>
                    <a:lnTo>
                      <a:pt x="101" y="2871"/>
                    </a:lnTo>
                    <a:lnTo>
                      <a:pt x="93" y="2772"/>
                    </a:lnTo>
                    <a:lnTo>
                      <a:pt x="92" y="2674"/>
                    </a:lnTo>
                    <a:lnTo>
                      <a:pt x="92" y="2575"/>
                    </a:lnTo>
                    <a:lnTo>
                      <a:pt x="95" y="2477"/>
                    </a:lnTo>
                    <a:lnTo>
                      <a:pt x="96" y="2378"/>
                    </a:lnTo>
                    <a:lnTo>
                      <a:pt x="97" y="2283"/>
                    </a:lnTo>
                    <a:lnTo>
                      <a:pt x="94" y="2187"/>
                    </a:lnTo>
                    <a:lnTo>
                      <a:pt x="89" y="2096"/>
                    </a:lnTo>
                    <a:lnTo>
                      <a:pt x="87" y="2015"/>
                    </a:lnTo>
                    <a:lnTo>
                      <a:pt x="89" y="1935"/>
                    </a:lnTo>
                    <a:lnTo>
                      <a:pt x="92" y="1854"/>
                    </a:lnTo>
                    <a:lnTo>
                      <a:pt x="95" y="1775"/>
                    </a:lnTo>
                    <a:lnTo>
                      <a:pt x="97" y="1693"/>
                    </a:lnTo>
                    <a:lnTo>
                      <a:pt x="96" y="1614"/>
                    </a:lnTo>
                    <a:lnTo>
                      <a:pt x="92" y="1534"/>
                    </a:lnTo>
                    <a:lnTo>
                      <a:pt x="82" y="1454"/>
                    </a:lnTo>
                    <a:lnTo>
                      <a:pt x="75" y="1310"/>
                    </a:lnTo>
                    <a:lnTo>
                      <a:pt x="68" y="1166"/>
                    </a:lnTo>
                    <a:lnTo>
                      <a:pt x="61" y="1021"/>
                    </a:lnTo>
                    <a:lnTo>
                      <a:pt x="55" y="877"/>
                    </a:lnTo>
                    <a:lnTo>
                      <a:pt x="47" y="731"/>
                    </a:lnTo>
                    <a:lnTo>
                      <a:pt x="40" y="587"/>
                    </a:lnTo>
                    <a:lnTo>
                      <a:pt x="32" y="442"/>
                    </a:lnTo>
                    <a:lnTo>
                      <a:pt x="25" y="297"/>
                    </a:lnTo>
                    <a:lnTo>
                      <a:pt x="21" y="260"/>
                    </a:lnTo>
                    <a:lnTo>
                      <a:pt x="18" y="224"/>
                    </a:lnTo>
                    <a:lnTo>
                      <a:pt x="14" y="187"/>
                    </a:lnTo>
                    <a:lnTo>
                      <a:pt x="10" y="150"/>
                    </a:lnTo>
                    <a:lnTo>
                      <a:pt x="5" y="112"/>
                    </a:lnTo>
                    <a:lnTo>
                      <a:pt x="2" y="75"/>
                    </a:lnTo>
                    <a:lnTo>
                      <a:pt x="0" y="37"/>
                    </a:lnTo>
                    <a:lnTo>
                      <a:pt x="0" y="0"/>
                    </a:lnTo>
                    <a:lnTo>
                      <a:pt x="45" y="77"/>
                    </a:lnTo>
                    <a:lnTo>
                      <a:pt x="77" y="165"/>
                    </a:lnTo>
                    <a:lnTo>
                      <a:pt x="96" y="259"/>
                    </a:lnTo>
                    <a:lnTo>
                      <a:pt x="108" y="359"/>
                    </a:lnTo>
                    <a:lnTo>
                      <a:pt x="112" y="462"/>
                    </a:lnTo>
                    <a:lnTo>
                      <a:pt x="114" y="565"/>
                    </a:lnTo>
                    <a:lnTo>
                      <a:pt x="115" y="666"/>
                    </a:lnTo>
                    <a:lnTo>
                      <a:pt x="119" y="763"/>
                    </a:lnTo>
                    <a:close/>
                  </a:path>
                </a:pathLst>
              </a:custGeom>
              <a:solidFill>
                <a:srgbClr val="F41A00"/>
              </a:solidFill>
              <a:ln w="9525">
                <a:noFill/>
                <a:round/>
                <a:headEnd/>
                <a:tailEnd/>
              </a:ln>
            </p:spPr>
            <p:txBody>
              <a:bodyPr/>
              <a:lstStyle/>
              <a:p>
                <a:pPr>
                  <a:defRPr/>
                </a:pPr>
                <a:endParaRPr lang="en-US" dirty="0">
                  <a:cs typeface="+mn-cs"/>
                </a:endParaRPr>
              </a:p>
            </p:txBody>
          </p:sp>
          <p:sp>
            <p:nvSpPr>
              <p:cNvPr id="66" name="Freeform 1112"/>
              <p:cNvSpPr>
                <a:spLocks/>
              </p:cNvSpPr>
              <p:nvPr/>
            </p:nvSpPr>
            <p:spPr bwMode="auto">
              <a:xfrm>
                <a:off x="4109" y="2524"/>
                <a:ext cx="510" cy="1135"/>
              </a:xfrm>
              <a:custGeom>
                <a:avLst/>
                <a:gdLst>
                  <a:gd name="T0" fmla="*/ 0 w 2039"/>
                  <a:gd name="T1" fmla="*/ 0 h 4540"/>
                  <a:gd name="T2" fmla="*/ 0 w 2039"/>
                  <a:gd name="T3" fmla="*/ 0 h 4540"/>
                  <a:gd name="T4" fmla="*/ 0 w 2039"/>
                  <a:gd name="T5" fmla="*/ 0 h 4540"/>
                  <a:gd name="T6" fmla="*/ 0 w 2039"/>
                  <a:gd name="T7" fmla="*/ 0 h 4540"/>
                  <a:gd name="T8" fmla="*/ 0 w 2039"/>
                  <a:gd name="T9" fmla="*/ 0 h 4540"/>
                  <a:gd name="T10" fmla="*/ 0 w 2039"/>
                  <a:gd name="T11" fmla="*/ 0 h 4540"/>
                  <a:gd name="T12" fmla="*/ 0 w 2039"/>
                  <a:gd name="T13" fmla="*/ 0 h 4540"/>
                  <a:gd name="T14" fmla="*/ 0 w 2039"/>
                  <a:gd name="T15" fmla="*/ 0 h 4540"/>
                  <a:gd name="T16" fmla="*/ 0 w 2039"/>
                  <a:gd name="T17" fmla="*/ 0 h 4540"/>
                  <a:gd name="T18" fmla="*/ 0 w 2039"/>
                  <a:gd name="T19" fmla="*/ 0 h 4540"/>
                  <a:gd name="T20" fmla="*/ 0 w 2039"/>
                  <a:gd name="T21" fmla="*/ 0 h 4540"/>
                  <a:gd name="T22" fmla="*/ 0 w 2039"/>
                  <a:gd name="T23" fmla="*/ 0 h 4540"/>
                  <a:gd name="T24" fmla="*/ 0 w 2039"/>
                  <a:gd name="T25" fmla="*/ 0 h 4540"/>
                  <a:gd name="T26" fmla="*/ 0 w 2039"/>
                  <a:gd name="T27" fmla="*/ 0 h 4540"/>
                  <a:gd name="T28" fmla="*/ 0 w 2039"/>
                  <a:gd name="T29" fmla="*/ 0 h 4540"/>
                  <a:gd name="T30" fmla="*/ 0 w 2039"/>
                  <a:gd name="T31" fmla="*/ 0 h 4540"/>
                  <a:gd name="T32" fmla="*/ 0 w 2039"/>
                  <a:gd name="T33" fmla="*/ 0 h 4540"/>
                  <a:gd name="T34" fmla="*/ 0 w 2039"/>
                  <a:gd name="T35" fmla="*/ 0 h 4540"/>
                  <a:gd name="T36" fmla="*/ 0 w 2039"/>
                  <a:gd name="T37" fmla="*/ 0 h 4540"/>
                  <a:gd name="T38" fmla="*/ 0 w 2039"/>
                  <a:gd name="T39" fmla="*/ 0 h 4540"/>
                  <a:gd name="T40" fmla="*/ 0 w 2039"/>
                  <a:gd name="T41" fmla="*/ 0 h 4540"/>
                  <a:gd name="T42" fmla="*/ 0 w 2039"/>
                  <a:gd name="T43" fmla="*/ 0 h 4540"/>
                  <a:gd name="T44" fmla="*/ 0 w 2039"/>
                  <a:gd name="T45" fmla="*/ 0 h 4540"/>
                  <a:gd name="T46" fmla="*/ 0 w 2039"/>
                  <a:gd name="T47" fmla="*/ 0 h 4540"/>
                  <a:gd name="T48" fmla="*/ 0 w 2039"/>
                  <a:gd name="T49" fmla="*/ 0 h 4540"/>
                  <a:gd name="T50" fmla="*/ 0 w 2039"/>
                  <a:gd name="T51" fmla="*/ 0 h 4540"/>
                  <a:gd name="T52" fmla="*/ 0 w 2039"/>
                  <a:gd name="T53" fmla="*/ 0 h 4540"/>
                  <a:gd name="T54" fmla="*/ 0 w 2039"/>
                  <a:gd name="T55" fmla="*/ 0 h 4540"/>
                  <a:gd name="T56" fmla="*/ 0 w 2039"/>
                  <a:gd name="T57" fmla="*/ 0 h 4540"/>
                  <a:gd name="T58" fmla="*/ 0 w 2039"/>
                  <a:gd name="T59" fmla="*/ 0 h 4540"/>
                  <a:gd name="T60" fmla="*/ 0 w 2039"/>
                  <a:gd name="T61" fmla="*/ 0 h 4540"/>
                  <a:gd name="T62" fmla="*/ 0 w 2039"/>
                  <a:gd name="T63" fmla="*/ 0 h 4540"/>
                  <a:gd name="T64" fmla="*/ 0 w 2039"/>
                  <a:gd name="T65" fmla="*/ 0 h 4540"/>
                  <a:gd name="T66" fmla="*/ 0 w 2039"/>
                  <a:gd name="T67" fmla="*/ 0 h 4540"/>
                  <a:gd name="T68" fmla="*/ 0 w 2039"/>
                  <a:gd name="T69" fmla="*/ 0 h 4540"/>
                  <a:gd name="T70" fmla="*/ 0 w 2039"/>
                  <a:gd name="T71" fmla="*/ 0 h 4540"/>
                  <a:gd name="T72" fmla="*/ 0 w 2039"/>
                  <a:gd name="T73" fmla="*/ 0 h 4540"/>
                  <a:gd name="T74" fmla="*/ 0 w 2039"/>
                  <a:gd name="T75" fmla="*/ 0 h 4540"/>
                  <a:gd name="T76" fmla="*/ 0 w 2039"/>
                  <a:gd name="T77" fmla="*/ 0 h 4540"/>
                  <a:gd name="T78" fmla="*/ 0 w 2039"/>
                  <a:gd name="T79" fmla="*/ 0 h 4540"/>
                  <a:gd name="T80" fmla="*/ 0 w 2039"/>
                  <a:gd name="T81" fmla="*/ 0 h 4540"/>
                  <a:gd name="T82" fmla="*/ 0 w 2039"/>
                  <a:gd name="T83" fmla="*/ 0 h 4540"/>
                  <a:gd name="T84" fmla="*/ 0 w 2039"/>
                  <a:gd name="T85" fmla="*/ 0 h 4540"/>
                  <a:gd name="T86" fmla="*/ 0 w 2039"/>
                  <a:gd name="T87" fmla="*/ 0 h 4540"/>
                  <a:gd name="T88" fmla="*/ 0 w 2039"/>
                  <a:gd name="T89" fmla="*/ 0 h 4540"/>
                  <a:gd name="T90" fmla="*/ 0 w 2039"/>
                  <a:gd name="T91" fmla="*/ 0 h 4540"/>
                  <a:gd name="T92" fmla="*/ 0 w 2039"/>
                  <a:gd name="T93" fmla="*/ 0 h 4540"/>
                  <a:gd name="T94" fmla="*/ 0 w 2039"/>
                  <a:gd name="T95" fmla="*/ 0 h 4540"/>
                  <a:gd name="T96" fmla="*/ 0 w 2039"/>
                  <a:gd name="T97" fmla="*/ 0 h 4540"/>
                  <a:gd name="T98" fmla="*/ 0 w 2039"/>
                  <a:gd name="T99" fmla="*/ 0 h 4540"/>
                  <a:gd name="T100" fmla="*/ 0 w 2039"/>
                  <a:gd name="T101" fmla="*/ 0 h 4540"/>
                  <a:gd name="T102" fmla="*/ 0 w 2039"/>
                  <a:gd name="T103" fmla="*/ 0 h 45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9"/>
                  <a:gd name="T157" fmla="*/ 0 h 4540"/>
                  <a:gd name="T158" fmla="*/ 2039 w 2039"/>
                  <a:gd name="T159" fmla="*/ 4540 h 45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9" h="4540">
                    <a:moveTo>
                      <a:pt x="103" y="779"/>
                    </a:moveTo>
                    <a:lnTo>
                      <a:pt x="98" y="831"/>
                    </a:lnTo>
                    <a:lnTo>
                      <a:pt x="102" y="883"/>
                    </a:lnTo>
                    <a:lnTo>
                      <a:pt x="109" y="932"/>
                    </a:lnTo>
                    <a:lnTo>
                      <a:pt x="121" y="982"/>
                    </a:lnTo>
                    <a:lnTo>
                      <a:pt x="132" y="1030"/>
                    </a:lnTo>
                    <a:lnTo>
                      <a:pt x="143" y="1080"/>
                    </a:lnTo>
                    <a:lnTo>
                      <a:pt x="151" y="1129"/>
                    </a:lnTo>
                    <a:lnTo>
                      <a:pt x="153" y="1182"/>
                    </a:lnTo>
                    <a:lnTo>
                      <a:pt x="162" y="1230"/>
                    </a:lnTo>
                    <a:lnTo>
                      <a:pt x="173" y="1279"/>
                    </a:lnTo>
                    <a:lnTo>
                      <a:pt x="187" y="1328"/>
                    </a:lnTo>
                    <a:lnTo>
                      <a:pt x="201" y="1377"/>
                    </a:lnTo>
                    <a:lnTo>
                      <a:pt x="212" y="1425"/>
                    </a:lnTo>
                    <a:lnTo>
                      <a:pt x="219" y="1475"/>
                    </a:lnTo>
                    <a:lnTo>
                      <a:pt x="222" y="1525"/>
                    </a:lnTo>
                    <a:lnTo>
                      <a:pt x="221" y="1578"/>
                    </a:lnTo>
                    <a:lnTo>
                      <a:pt x="224" y="1634"/>
                    </a:lnTo>
                    <a:lnTo>
                      <a:pt x="232" y="1689"/>
                    </a:lnTo>
                    <a:lnTo>
                      <a:pt x="244" y="1742"/>
                    </a:lnTo>
                    <a:lnTo>
                      <a:pt x="259" y="1797"/>
                    </a:lnTo>
                    <a:lnTo>
                      <a:pt x="274" y="1849"/>
                    </a:lnTo>
                    <a:lnTo>
                      <a:pt x="289" y="1903"/>
                    </a:lnTo>
                    <a:lnTo>
                      <a:pt x="301" y="1959"/>
                    </a:lnTo>
                    <a:lnTo>
                      <a:pt x="309" y="2016"/>
                    </a:lnTo>
                    <a:lnTo>
                      <a:pt x="330" y="2093"/>
                    </a:lnTo>
                    <a:lnTo>
                      <a:pt x="345" y="2174"/>
                    </a:lnTo>
                    <a:lnTo>
                      <a:pt x="357" y="2255"/>
                    </a:lnTo>
                    <a:lnTo>
                      <a:pt x="369" y="2337"/>
                    </a:lnTo>
                    <a:lnTo>
                      <a:pt x="380" y="2417"/>
                    </a:lnTo>
                    <a:lnTo>
                      <a:pt x="394" y="2499"/>
                    </a:lnTo>
                    <a:lnTo>
                      <a:pt x="412" y="2578"/>
                    </a:lnTo>
                    <a:lnTo>
                      <a:pt x="439" y="2658"/>
                    </a:lnTo>
                    <a:lnTo>
                      <a:pt x="453" y="2707"/>
                    </a:lnTo>
                    <a:lnTo>
                      <a:pt x="470" y="2758"/>
                    </a:lnTo>
                    <a:lnTo>
                      <a:pt x="490" y="2809"/>
                    </a:lnTo>
                    <a:lnTo>
                      <a:pt x="513" y="2860"/>
                    </a:lnTo>
                    <a:lnTo>
                      <a:pt x="534" y="2910"/>
                    </a:lnTo>
                    <a:lnTo>
                      <a:pt x="557" y="2961"/>
                    </a:lnTo>
                    <a:lnTo>
                      <a:pt x="579" y="3010"/>
                    </a:lnTo>
                    <a:lnTo>
                      <a:pt x="600" y="3059"/>
                    </a:lnTo>
                    <a:lnTo>
                      <a:pt x="650" y="3144"/>
                    </a:lnTo>
                    <a:lnTo>
                      <a:pt x="701" y="3228"/>
                    </a:lnTo>
                    <a:lnTo>
                      <a:pt x="751" y="3313"/>
                    </a:lnTo>
                    <a:lnTo>
                      <a:pt x="801" y="3399"/>
                    </a:lnTo>
                    <a:lnTo>
                      <a:pt x="850" y="3484"/>
                    </a:lnTo>
                    <a:lnTo>
                      <a:pt x="900" y="3569"/>
                    </a:lnTo>
                    <a:lnTo>
                      <a:pt x="951" y="3653"/>
                    </a:lnTo>
                    <a:lnTo>
                      <a:pt x="1003" y="3739"/>
                    </a:lnTo>
                    <a:lnTo>
                      <a:pt x="1010" y="3748"/>
                    </a:lnTo>
                    <a:lnTo>
                      <a:pt x="1015" y="3759"/>
                    </a:lnTo>
                    <a:lnTo>
                      <a:pt x="1019" y="3771"/>
                    </a:lnTo>
                    <a:lnTo>
                      <a:pt x="1024" y="3783"/>
                    </a:lnTo>
                    <a:lnTo>
                      <a:pt x="1027" y="3794"/>
                    </a:lnTo>
                    <a:lnTo>
                      <a:pt x="1032" y="3805"/>
                    </a:lnTo>
                    <a:lnTo>
                      <a:pt x="1039" y="3813"/>
                    </a:lnTo>
                    <a:lnTo>
                      <a:pt x="1051" y="3821"/>
                    </a:lnTo>
                    <a:lnTo>
                      <a:pt x="1086" y="3875"/>
                    </a:lnTo>
                    <a:lnTo>
                      <a:pt x="1125" y="3930"/>
                    </a:lnTo>
                    <a:lnTo>
                      <a:pt x="1165" y="3983"/>
                    </a:lnTo>
                    <a:lnTo>
                      <a:pt x="1209" y="4037"/>
                    </a:lnTo>
                    <a:lnTo>
                      <a:pt x="1251" y="4089"/>
                    </a:lnTo>
                    <a:lnTo>
                      <a:pt x="1295" y="4142"/>
                    </a:lnTo>
                    <a:lnTo>
                      <a:pt x="1338" y="4194"/>
                    </a:lnTo>
                    <a:lnTo>
                      <a:pt x="1381" y="4247"/>
                    </a:lnTo>
                    <a:lnTo>
                      <a:pt x="1409" y="4264"/>
                    </a:lnTo>
                    <a:lnTo>
                      <a:pt x="1437" y="4284"/>
                    </a:lnTo>
                    <a:lnTo>
                      <a:pt x="1465" y="4305"/>
                    </a:lnTo>
                    <a:lnTo>
                      <a:pt x="1493" y="4327"/>
                    </a:lnTo>
                    <a:lnTo>
                      <a:pt x="1518" y="4349"/>
                    </a:lnTo>
                    <a:lnTo>
                      <a:pt x="1545" y="4374"/>
                    </a:lnTo>
                    <a:lnTo>
                      <a:pt x="1569" y="4400"/>
                    </a:lnTo>
                    <a:lnTo>
                      <a:pt x="1592" y="4429"/>
                    </a:lnTo>
                    <a:lnTo>
                      <a:pt x="1637" y="4443"/>
                    </a:lnTo>
                    <a:lnTo>
                      <a:pt x="1688" y="4455"/>
                    </a:lnTo>
                    <a:lnTo>
                      <a:pt x="1742" y="4461"/>
                    </a:lnTo>
                    <a:lnTo>
                      <a:pt x="1800" y="4469"/>
                    </a:lnTo>
                    <a:lnTo>
                      <a:pt x="1857" y="4475"/>
                    </a:lnTo>
                    <a:lnTo>
                      <a:pt x="1911" y="4485"/>
                    </a:lnTo>
                    <a:lnTo>
                      <a:pt x="1961" y="4499"/>
                    </a:lnTo>
                    <a:lnTo>
                      <a:pt x="2005" y="4520"/>
                    </a:lnTo>
                    <a:lnTo>
                      <a:pt x="2014" y="4519"/>
                    </a:lnTo>
                    <a:lnTo>
                      <a:pt x="2022" y="4525"/>
                    </a:lnTo>
                    <a:lnTo>
                      <a:pt x="2030" y="4534"/>
                    </a:lnTo>
                    <a:lnTo>
                      <a:pt x="2039" y="4540"/>
                    </a:lnTo>
                    <a:lnTo>
                      <a:pt x="1977" y="4530"/>
                    </a:lnTo>
                    <a:lnTo>
                      <a:pt x="1918" y="4517"/>
                    </a:lnTo>
                    <a:lnTo>
                      <a:pt x="1858" y="4500"/>
                    </a:lnTo>
                    <a:lnTo>
                      <a:pt x="1799" y="4484"/>
                    </a:lnTo>
                    <a:lnTo>
                      <a:pt x="1740" y="4464"/>
                    </a:lnTo>
                    <a:lnTo>
                      <a:pt x="1684" y="4446"/>
                    </a:lnTo>
                    <a:lnTo>
                      <a:pt x="1626" y="4425"/>
                    </a:lnTo>
                    <a:lnTo>
                      <a:pt x="1570" y="4406"/>
                    </a:lnTo>
                    <a:lnTo>
                      <a:pt x="1477" y="4351"/>
                    </a:lnTo>
                    <a:lnTo>
                      <a:pt x="1389" y="4295"/>
                    </a:lnTo>
                    <a:lnTo>
                      <a:pt x="1301" y="4234"/>
                    </a:lnTo>
                    <a:lnTo>
                      <a:pt x="1214" y="4174"/>
                    </a:lnTo>
                    <a:lnTo>
                      <a:pt x="1127" y="4112"/>
                    </a:lnTo>
                    <a:lnTo>
                      <a:pt x="1040" y="4053"/>
                    </a:lnTo>
                    <a:lnTo>
                      <a:pt x="952" y="3996"/>
                    </a:lnTo>
                    <a:lnTo>
                      <a:pt x="864" y="3943"/>
                    </a:lnTo>
                    <a:lnTo>
                      <a:pt x="777" y="3878"/>
                    </a:lnTo>
                    <a:lnTo>
                      <a:pt x="696" y="3811"/>
                    </a:lnTo>
                    <a:lnTo>
                      <a:pt x="620" y="3739"/>
                    </a:lnTo>
                    <a:lnTo>
                      <a:pt x="550" y="3665"/>
                    </a:lnTo>
                    <a:lnTo>
                      <a:pt x="481" y="3587"/>
                    </a:lnTo>
                    <a:lnTo>
                      <a:pt x="418" y="3507"/>
                    </a:lnTo>
                    <a:lnTo>
                      <a:pt x="357" y="3423"/>
                    </a:lnTo>
                    <a:lnTo>
                      <a:pt x="300" y="3338"/>
                    </a:lnTo>
                    <a:lnTo>
                      <a:pt x="269" y="3281"/>
                    </a:lnTo>
                    <a:lnTo>
                      <a:pt x="241" y="3224"/>
                    </a:lnTo>
                    <a:lnTo>
                      <a:pt x="215" y="3165"/>
                    </a:lnTo>
                    <a:lnTo>
                      <a:pt x="191" y="3108"/>
                    </a:lnTo>
                    <a:lnTo>
                      <a:pt x="167" y="3048"/>
                    </a:lnTo>
                    <a:lnTo>
                      <a:pt x="144" y="2989"/>
                    </a:lnTo>
                    <a:lnTo>
                      <a:pt x="121" y="2929"/>
                    </a:lnTo>
                    <a:lnTo>
                      <a:pt x="101" y="2871"/>
                    </a:lnTo>
                    <a:lnTo>
                      <a:pt x="93" y="2772"/>
                    </a:lnTo>
                    <a:lnTo>
                      <a:pt x="92" y="2674"/>
                    </a:lnTo>
                    <a:lnTo>
                      <a:pt x="92" y="2575"/>
                    </a:lnTo>
                    <a:lnTo>
                      <a:pt x="95" y="2477"/>
                    </a:lnTo>
                    <a:lnTo>
                      <a:pt x="96" y="2378"/>
                    </a:lnTo>
                    <a:lnTo>
                      <a:pt x="97" y="2283"/>
                    </a:lnTo>
                    <a:lnTo>
                      <a:pt x="94" y="2187"/>
                    </a:lnTo>
                    <a:lnTo>
                      <a:pt x="89" y="2096"/>
                    </a:lnTo>
                    <a:lnTo>
                      <a:pt x="87" y="2015"/>
                    </a:lnTo>
                    <a:lnTo>
                      <a:pt x="89" y="1935"/>
                    </a:lnTo>
                    <a:lnTo>
                      <a:pt x="92" y="1854"/>
                    </a:lnTo>
                    <a:lnTo>
                      <a:pt x="95" y="1775"/>
                    </a:lnTo>
                    <a:lnTo>
                      <a:pt x="97" y="1693"/>
                    </a:lnTo>
                    <a:lnTo>
                      <a:pt x="96" y="1614"/>
                    </a:lnTo>
                    <a:lnTo>
                      <a:pt x="92" y="1534"/>
                    </a:lnTo>
                    <a:lnTo>
                      <a:pt x="82" y="1454"/>
                    </a:lnTo>
                    <a:lnTo>
                      <a:pt x="75" y="1310"/>
                    </a:lnTo>
                    <a:lnTo>
                      <a:pt x="68" y="1166"/>
                    </a:lnTo>
                    <a:lnTo>
                      <a:pt x="61" y="1021"/>
                    </a:lnTo>
                    <a:lnTo>
                      <a:pt x="55" y="877"/>
                    </a:lnTo>
                    <a:lnTo>
                      <a:pt x="47" y="731"/>
                    </a:lnTo>
                    <a:lnTo>
                      <a:pt x="40" y="587"/>
                    </a:lnTo>
                    <a:lnTo>
                      <a:pt x="32" y="442"/>
                    </a:lnTo>
                    <a:lnTo>
                      <a:pt x="25" y="297"/>
                    </a:lnTo>
                    <a:lnTo>
                      <a:pt x="21" y="260"/>
                    </a:lnTo>
                    <a:lnTo>
                      <a:pt x="18" y="224"/>
                    </a:lnTo>
                    <a:lnTo>
                      <a:pt x="14" y="187"/>
                    </a:lnTo>
                    <a:lnTo>
                      <a:pt x="10" y="150"/>
                    </a:lnTo>
                    <a:lnTo>
                      <a:pt x="5" y="112"/>
                    </a:lnTo>
                    <a:lnTo>
                      <a:pt x="2" y="75"/>
                    </a:lnTo>
                    <a:lnTo>
                      <a:pt x="0" y="37"/>
                    </a:lnTo>
                    <a:lnTo>
                      <a:pt x="0" y="0"/>
                    </a:lnTo>
                    <a:lnTo>
                      <a:pt x="44" y="77"/>
                    </a:lnTo>
                    <a:lnTo>
                      <a:pt x="75" y="167"/>
                    </a:lnTo>
                    <a:lnTo>
                      <a:pt x="91" y="264"/>
                    </a:lnTo>
                    <a:lnTo>
                      <a:pt x="100" y="368"/>
                    </a:lnTo>
                    <a:lnTo>
                      <a:pt x="101" y="474"/>
                    </a:lnTo>
                    <a:lnTo>
                      <a:pt x="100" y="579"/>
                    </a:lnTo>
                    <a:lnTo>
                      <a:pt x="98" y="681"/>
                    </a:lnTo>
                    <a:lnTo>
                      <a:pt x="103" y="779"/>
                    </a:lnTo>
                    <a:close/>
                  </a:path>
                </a:pathLst>
              </a:custGeom>
              <a:solidFill>
                <a:srgbClr val="FF1A00"/>
              </a:solidFill>
              <a:ln w="9525">
                <a:noFill/>
                <a:round/>
                <a:headEnd/>
                <a:tailEnd/>
              </a:ln>
            </p:spPr>
            <p:txBody>
              <a:bodyPr/>
              <a:lstStyle/>
              <a:p>
                <a:pPr>
                  <a:defRPr/>
                </a:pPr>
                <a:endParaRPr lang="en-US" dirty="0">
                  <a:cs typeface="+mn-cs"/>
                </a:endParaRPr>
              </a:p>
            </p:txBody>
          </p:sp>
          <p:sp>
            <p:nvSpPr>
              <p:cNvPr id="70" name="Freeform 1113"/>
              <p:cNvSpPr>
                <a:spLocks/>
              </p:cNvSpPr>
              <p:nvPr/>
            </p:nvSpPr>
            <p:spPr bwMode="auto">
              <a:xfrm>
                <a:off x="4454" y="2865"/>
                <a:ext cx="89" cy="129"/>
              </a:xfrm>
              <a:custGeom>
                <a:avLst/>
                <a:gdLst>
                  <a:gd name="T0" fmla="*/ 0 w 357"/>
                  <a:gd name="T1" fmla="*/ 0 h 515"/>
                  <a:gd name="T2" fmla="*/ 0 w 357"/>
                  <a:gd name="T3" fmla="*/ 0 h 515"/>
                  <a:gd name="T4" fmla="*/ 0 w 357"/>
                  <a:gd name="T5" fmla="*/ 0 h 515"/>
                  <a:gd name="T6" fmla="*/ 0 w 357"/>
                  <a:gd name="T7" fmla="*/ 0 h 515"/>
                  <a:gd name="T8" fmla="*/ 0 w 357"/>
                  <a:gd name="T9" fmla="*/ 0 h 515"/>
                  <a:gd name="T10" fmla="*/ 0 w 357"/>
                  <a:gd name="T11" fmla="*/ 0 h 515"/>
                  <a:gd name="T12" fmla="*/ 0 w 357"/>
                  <a:gd name="T13" fmla="*/ 0 h 515"/>
                  <a:gd name="T14" fmla="*/ 0 w 357"/>
                  <a:gd name="T15" fmla="*/ 0 h 515"/>
                  <a:gd name="T16" fmla="*/ 0 w 357"/>
                  <a:gd name="T17" fmla="*/ 0 h 515"/>
                  <a:gd name="T18" fmla="*/ 0 w 357"/>
                  <a:gd name="T19" fmla="*/ 0 h 515"/>
                  <a:gd name="T20" fmla="*/ 0 w 357"/>
                  <a:gd name="T21" fmla="*/ 0 h 515"/>
                  <a:gd name="T22" fmla="*/ 0 w 357"/>
                  <a:gd name="T23" fmla="*/ 0 h 515"/>
                  <a:gd name="T24" fmla="*/ 0 w 357"/>
                  <a:gd name="T25" fmla="*/ 0 h 515"/>
                  <a:gd name="T26" fmla="*/ 0 w 357"/>
                  <a:gd name="T27" fmla="*/ 0 h 515"/>
                  <a:gd name="T28" fmla="*/ 0 w 357"/>
                  <a:gd name="T29" fmla="*/ 0 h 515"/>
                  <a:gd name="T30" fmla="*/ 0 w 357"/>
                  <a:gd name="T31" fmla="*/ 0 h 515"/>
                  <a:gd name="T32" fmla="*/ 0 w 357"/>
                  <a:gd name="T33" fmla="*/ 0 h 515"/>
                  <a:gd name="T34" fmla="*/ 0 w 357"/>
                  <a:gd name="T35" fmla="*/ 0 h 515"/>
                  <a:gd name="T36" fmla="*/ 0 w 357"/>
                  <a:gd name="T37" fmla="*/ 0 h 515"/>
                  <a:gd name="T38" fmla="*/ 0 w 357"/>
                  <a:gd name="T39" fmla="*/ 0 h 515"/>
                  <a:gd name="T40" fmla="*/ 0 w 357"/>
                  <a:gd name="T41" fmla="*/ 0 h 515"/>
                  <a:gd name="T42" fmla="*/ 0 w 357"/>
                  <a:gd name="T43" fmla="*/ 0 h 515"/>
                  <a:gd name="T44" fmla="*/ 0 w 357"/>
                  <a:gd name="T45" fmla="*/ 0 h 515"/>
                  <a:gd name="T46" fmla="*/ 0 w 357"/>
                  <a:gd name="T47" fmla="*/ 0 h 515"/>
                  <a:gd name="T48" fmla="*/ 0 w 357"/>
                  <a:gd name="T49" fmla="*/ 0 h 515"/>
                  <a:gd name="T50" fmla="*/ 0 w 357"/>
                  <a:gd name="T51" fmla="*/ 0 h 515"/>
                  <a:gd name="T52" fmla="*/ 0 w 357"/>
                  <a:gd name="T53" fmla="*/ 0 h 515"/>
                  <a:gd name="T54" fmla="*/ 0 w 357"/>
                  <a:gd name="T55" fmla="*/ 0 h 515"/>
                  <a:gd name="T56" fmla="*/ 0 w 357"/>
                  <a:gd name="T57" fmla="*/ 0 h 515"/>
                  <a:gd name="T58" fmla="*/ 0 w 357"/>
                  <a:gd name="T59" fmla="*/ 0 h 515"/>
                  <a:gd name="T60" fmla="*/ 0 w 357"/>
                  <a:gd name="T61" fmla="*/ 0 h 515"/>
                  <a:gd name="T62" fmla="*/ 0 w 357"/>
                  <a:gd name="T63" fmla="*/ 0 h 515"/>
                  <a:gd name="T64" fmla="*/ 0 w 357"/>
                  <a:gd name="T65" fmla="*/ 0 h 515"/>
                  <a:gd name="T66" fmla="*/ 0 w 357"/>
                  <a:gd name="T67" fmla="*/ 0 h 515"/>
                  <a:gd name="T68" fmla="*/ 0 w 357"/>
                  <a:gd name="T69" fmla="*/ 0 h 515"/>
                  <a:gd name="T70" fmla="*/ 0 w 357"/>
                  <a:gd name="T71" fmla="*/ 0 h 515"/>
                  <a:gd name="T72" fmla="*/ 0 w 357"/>
                  <a:gd name="T73" fmla="*/ 0 h 515"/>
                  <a:gd name="T74" fmla="*/ 0 w 357"/>
                  <a:gd name="T75" fmla="*/ 0 h 515"/>
                  <a:gd name="T76" fmla="*/ 0 w 357"/>
                  <a:gd name="T77" fmla="*/ 0 h 515"/>
                  <a:gd name="T78" fmla="*/ 0 w 357"/>
                  <a:gd name="T79" fmla="*/ 0 h 515"/>
                  <a:gd name="T80" fmla="*/ 0 w 357"/>
                  <a:gd name="T81" fmla="*/ 0 h 515"/>
                  <a:gd name="T82" fmla="*/ 0 w 357"/>
                  <a:gd name="T83" fmla="*/ 0 h 515"/>
                  <a:gd name="T84" fmla="*/ 0 w 357"/>
                  <a:gd name="T85" fmla="*/ 0 h 515"/>
                  <a:gd name="T86" fmla="*/ 0 w 357"/>
                  <a:gd name="T87" fmla="*/ 0 h 515"/>
                  <a:gd name="T88" fmla="*/ 0 w 357"/>
                  <a:gd name="T89" fmla="*/ 0 h 515"/>
                  <a:gd name="T90" fmla="*/ 0 w 357"/>
                  <a:gd name="T91" fmla="*/ 0 h 515"/>
                  <a:gd name="T92" fmla="*/ 0 w 357"/>
                  <a:gd name="T93" fmla="*/ 0 h 515"/>
                  <a:gd name="T94" fmla="*/ 0 w 357"/>
                  <a:gd name="T95" fmla="*/ 0 h 515"/>
                  <a:gd name="T96" fmla="*/ 0 w 357"/>
                  <a:gd name="T97" fmla="*/ 0 h 515"/>
                  <a:gd name="T98" fmla="*/ 0 w 357"/>
                  <a:gd name="T99" fmla="*/ 0 h 515"/>
                  <a:gd name="T100" fmla="*/ 0 w 357"/>
                  <a:gd name="T101" fmla="*/ 0 h 515"/>
                  <a:gd name="T102" fmla="*/ 0 w 357"/>
                  <a:gd name="T103" fmla="*/ 0 h 515"/>
                  <a:gd name="T104" fmla="*/ 0 w 357"/>
                  <a:gd name="T105" fmla="*/ 0 h 515"/>
                  <a:gd name="T106" fmla="*/ 0 w 357"/>
                  <a:gd name="T107" fmla="*/ 0 h 515"/>
                  <a:gd name="T108" fmla="*/ 0 w 357"/>
                  <a:gd name="T109" fmla="*/ 0 h 515"/>
                  <a:gd name="T110" fmla="*/ 0 w 357"/>
                  <a:gd name="T111" fmla="*/ 0 h 515"/>
                  <a:gd name="T112" fmla="*/ 0 w 357"/>
                  <a:gd name="T113" fmla="*/ 0 h 51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7"/>
                  <a:gd name="T172" fmla="*/ 0 h 515"/>
                  <a:gd name="T173" fmla="*/ 357 w 357"/>
                  <a:gd name="T174" fmla="*/ 515 h 51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7" h="515">
                    <a:moveTo>
                      <a:pt x="282" y="179"/>
                    </a:moveTo>
                    <a:lnTo>
                      <a:pt x="285" y="190"/>
                    </a:lnTo>
                    <a:lnTo>
                      <a:pt x="294" y="201"/>
                    </a:lnTo>
                    <a:lnTo>
                      <a:pt x="303" y="211"/>
                    </a:lnTo>
                    <a:lnTo>
                      <a:pt x="314" y="221"/>
                    </a:lnTo>
                    <a:lnTo>
                      <a:pt x="322" y="229"/>
                    </a:lnTo>
                    <a:lnTo>
                      <a:pt x="329" y="240"/>
                    </a:lnTo>
                    <a:lnTo>
                      <a:pt x="330" y="252"/>
                    </a:lnTo>
                    <a:lnTo>
                      <a:pt x="328" y="269"/>
                    </a:lnTo>
                    <a:lnTo>
                      <a:pt x="336" y="290"/>
                    </a:lnTo>
                    <a:lnTo>
                      <a:pt x="345" y="313"/>
                    </a:lnTo>
                    <a:lnTo>
                      <a:pt x="351" y="337"/>
                    </a:lnTo>
                    <a:lnTo>
                      <a:pt x="356" y="363"/>
                    </a:lnTo>
                    <a:lnTo>
                      <a:pt x="357" y="388"/>
                    </a:lnTo>
                    <a:lnTo>
                      <a:pt x="357" y="413"/>
                    </a:lnTo>
                    <a:lnTo>
                      <a:pt x="354" y="437"/>
                    </a:lnTo>
                    <a:lnTo>
                      <a:pt x="348" y="461"/>
                    </a:lnTo>
                    <a:lnTo>
                      <a:pt x="339" y="471"/>
                    </a:lnTo>
                    <a:lnTo>
                      <a:pt x="329" y="482"/>
                    </a:lnTo>
                    <a:lnTo>
                      <a:pt x="318" y="490"/>
                    </a:lnTo>
                    <a:lnTo>
                      <a:pt x="308" y="499"/>
                    </a:lnTo>
                    <a:lnTo>
                      <a:pt x="296" y="504"/>
                    </a:lnTo>
                    <a:lnTo>
                      <a:pt x="285" y="510"/>
                    </a:lnTo>
                    <a:lnTo>
                      <a:pt x="272" y="513"/>
                    </a:lnTo>
                    <a:lnTo>
                      <a:pt x="259" y="515"/>
                    </a:lnTo>
                    <a:lnTo>
                      <a:pt x="222" y="507"/>
                    </a:lnTo>
                    <a:lnTo>
                      <a:pt x="193" y="490"/>
                    </a:lnTo>
                    <a:lnTo>
                      <a:pt x="170" y="465"/>
                    </a:lnTo>
                    <a:lnTo>
                      <a:pt x="151" y="438"/>
                    </a:lnTo>
                    <a:lnTo>
                      <a:pt x="133" y="407"/>
                    </a:lnTo>
                    <a:lnTo>
                      <a:pt x="116" y="375"/>
                    </a:lnTo>
                    <a:lnTo>
                      <a:pt x="96" y="344"/>
                    </a:lnTo>
                    <a:lnTo>
                      <a:pt x="76" y="319"/>
                    </a:lnTo>
                    <a:lnTo>
                      <a:pt x="55" y="287"/>
                    </a:lnTo>
                    <a:lnTo>
                      <a:pt x="36" y="253"/>
                    </a:lnTo>
                    <a:lnTo>
                      <a:pt x="21" y="217"/>
                    </a:lnTo>
                    <a:lnTo>
                      <a:pt x="9" y="183"/>
                    </a:lnTo>
                    <a:lnTo>
                      <a:pt x="2" y="145"/>
                    </a:lnTo>
                    <a:lnTo>
                      <a:pt x="0" y="109"/>
                    </a:lnTo>
                    <a:lnTo>
                      <a:pt x="6" y="72"/>
                    </a:lnTo>
                    <a:lnTo>
                      <a:pt x="21" y="37"/>
                    </a:lnTo>
                    <a:lnTo>
                      <a:pt x="32" y="20"/>
                    </a:lnTo>
                    <a:lnTo>
                      <a:pt x="46" y="10"/>
                    </a:lnTo>
                    <a:lnTo>
                      <a:pt x="61" y="3"/>
                    </a:lnTo>
                    <a:lnTo>
                      <a:pt x="80" y="1"/>
                    </a:lnTo>
                    <a:lnTo>
                      <a:pt x="97" y="0"/>
                    </a:lnTo>
                    <a:lnTo>
                      <a:pt x="116" y="2"/>
                    </a:lnTo>
                    <a:lnTo>
                      <a:pt x="134" y="4"/>
                    </a:lnTo>
                    <a:lnTo>
                      <a:pt x="152" y="7"/>
                    </a:lnTo>
                    <a:lnTo>
                      <a:pt x="173" y="23"/>
                    </a:lnTo>
                    <a:lnTo>
                      <a:pt x="192" y="43"/>
                    </a:lnTo>
                    <a:lnTo>
                      <a:pt x="208" y="65"/>
                    </a:lnTo>
                    <a:lnTo>
                      <a:pt x="222" y="89"/>
                    </a:lnTo>
                    <a:lnTo>
                      <a:pt x="235" y="113"/>
                    </a:lnTo>
                    <a:lnTo>
                      <a:pt x="249" y="137"/>
                    </a:lnTo>
                    <a:lnTo>
                      <a:pt x="264" y="159"/>
                    </a:lnTo>
                    <a:lnTo>
                      <a:pt x="282" y="179"/>
                    </a:lnTo>
                    <a:close/>
                  </a:path>
                </a:pathLst>
              </a:custGeom>
              <a:solidFill>
                <a:srgbClr val="000000"/>
              </a:solidFill>
              <a:ln w="9525">
                <a:noFill/>
                <a:round/>
                <a:headEnd/>
                <a:tailEnd/>
              </a:ln>
            </p:spPr>
            <p:txBody>
              <a:bodyPr/>
              <a:lstStyle/>
              <a:p>
                <a:pPr>
                  <a:defRPr/>
                </a:pPr>
                <a:endParaRPr lang="en-US" dirty="0">
                  <a:cs typeface="+mn-cs"/>
                </a:endParaRPr>
              </a:p>
            </p:txBody>
          </p:sp>
          <p:sp>
            <p:nvSpPr>
              <p:cNvPr id="74" name="Freeform 1114"/>
              <p:cNvSpPr>
                <a:spLocks/>
              </p:cNvSpPr>
              <p:nvPr/>
            </p:nvSpPr>
            <p:spPr bwMode="auto">
              <a:xfrm>
                <a:off x="4468" y="2877"/>
                <a:ext cx="64" cy="104"/>
              </a:xfrm>
              <a:custGeom>
                <a:avLst/>
                <a:gdLst>
                  <a:gd name="T0" fmla="*/ 0 w 255"/>
                  <a:gd name="T1" fmla="*/ 0 h 415"/>
                  <a:gd name="T2" fmla="*/ 0 w 255"/>
                  <a:gd name="T3" fmla="*/ 0 h 415"/>
                  <a:gd name="T4" fmla="*/ 0 w 255"/>
                  <a:gd name="T5" fmla="*/ 0 h 415"/>
                  <a:gd name="T6" fmla="*/ 0 w 255"/>
                  <a:gd name="T7" fmla="*/ 0 h 415"/>
                  <a:gd name="T8" fmla="*/ 0 w 255"/>
                  <a:gd name="T9" fmla="*/ 0 h 415"/>
                  <a:gd name="T10" fmla="*/ 0 w 255"/>
                  <a:gd name="T11" fmla="*/ 0 h 415"/>
                  <a:gd name="T12" fmla="*/ 0 w 255"/>
                  <a:gd name="T13" fmla="*/ 0 h 415"/>
                  <a:gd name="T14" fmla="*/ 0 w 255"/>
                  <a:gd name="T15" fmla="*/ 0 h 415"/>
                  <a:gd name="T16" fmla="*/ 0 w 255"/>
                  <a:gd name="T17" fmla="*/ 0 h 415"/>
                  <a:gd name="T18" fmla="*/ 0 w 255"/>
                  <a:gd name="T19" fmla="*/ 0 h 415"/>
                  <a:gd name="T20" fmla="*/ 0 w 255"/>
                  <a:gd name="T21" fmla="*/ 0 h 415"/>
                  <a:gd name="T22" fmla="*/ 0 w 255"/>
                  <a:gd name="T23" fmla="*/ 0 h 415"/>
                  <a:gd name="T24" fmla="*/ 0 w 255"/>
                  <a:gd name="T25" fmla="*/ 0 h 415"/>
                  <a:gd name="T26" fmla="*/ 0 w 255"/>
                  <a:gd name="T27" fmla="*/ 0 h 415"/>
                  <a:gd name="T28" fmla="*/ 0 w 255"/>
                  <a:gd name="T29" fmla="*/ 0 h 415"/>
                  <a:gd name="T30" fmla="*/ 0 w 255"/>
                  <a:gd name="T31" fmla="*/ 0 h 415"/>
                  <a:gd name="T32" fmla="*/ 0 w 255"/>
                  <a:gd name="T33" fmla="*/ 0 h 415"/>
                  <a:gd name="T34" fmla="*/ 0 w 255"/>
                  <a:gd name="T35" fmla="*/ 0 h 415"/>
                  <a:gd name="T36" fmla="*/ 0 w 255"/>
                  <a:gd name="T37" fmla="*/ 0 h 415"/>
                  <a:gd name="T38" fmla="*/ 0 w 255"/>
                  <a:gd name="T39" fmla="*/ 0 h 415"/>
                  <a:gd name="T40" fmla="*/ 0 w 255"/>
                  <a:gd name="T41" fmla="*/ 0 h 415"/>
                  <a:gd name="T42" fmla="*/ 0 w 255"/>
                  <a:gd name="T43" fmla="*/ 0 h 415"/>
                  <a:gd name="T44" fmla="*/ 0 w 255"/>
                  <a:gd name="T45" fmla="*/ 0 h 415"/>
                  <a:gd name="T46" fmla="*/ 0 w 255"/>
                  <a:gd name="T47" fmla="*/ 0 h 415"/>
                  <a:gd name="T48" fmla="*/ 0 w 255"/>
                  <a:gd name="T49" fmla="*/ 0 h 415"/>
                  <a:gd name="T50" fmla="*/ 0 w 255"/>
                  <a:gd name="T51" fmla="*/ 0 h 415"/>
                  <a:gd name="T52" fmla="*/ 0 w 255"/>
                  <a:gd name="T53" fmla="*/ 0 h 415"/>
                  <a:gd name="T54" fmla="*/ 0 w 255"/>
                  <a:gd name="T55" fmla="*/ 0 h 415"/>
                  <a:gd name="T56" fmla="*/ 0 w 255"/>
                  <a:gd name="T57" fmla="*/ 0 h 415"/>
                  <a:gd name="T58" fmla="*/ 0 w 255"/>
                  <a:gd name="T59" fmla="*/ 0 h 415"/>
                  <a:gd name="T60" fmla="*/ 0 w 255"/>
                  <a:gd name="T61" fmla="*/ 0 h 415"/>
                  <a:gd name="T62" fmla="*/ 0 w 255"/>
                  <a:gd name="T63" fmla="*/ 0 h 415"/>
                  <a:gd name="T64" fmla="*/ 0 w 255"/>
                  <a:gd name="T65" fmla="*/ 0 h 415"/>
                  <a:gd name="T66" fmla="*/ 0 w 255"/>
                  <a:gd name="T67" fmla="*/ 0 h 415"/>
                  <a:gd name="T68" fmla="*/ 0 w 255"/>
                  <a:gd name="T69" fmla="*/ 0 h 415"/>
                  <a:gd name="T70" fmla="*/ 0 w 255"/>
                  <a:gd name="T71" fmla="*/ 0 h 415"/>
                  <a:gd name="T72" fmla="*/ 0 w 255"/>
                  <a:gd name="T73" fmla="*/ 0 h 415"/>
                  <a:gd name="T74" fmla="*/ 0 w 255"/>
                  <a:gd name="T75" fmla="*/ 0 h 415"/>
                  <a:gd name="T76" fmla="*/ 0 w 255"/>
                  <a:gd name="T77" fmla="*/ 0 h 415"/>
                  <a:gd name="T78" fmla="*/ 0 w 255"/>
                  <a:gd name="T79" fmla="*/ 0 h 415"/>
                  <a:gd name="T80" fmla="*/ 0 w 255"/>
                  <a:gd name="T81" fmla="*/ 0 h 415"/>
                  <a:gd name="T82" fmla="*/ 0 w 255"/>
                  <a:gd name="T83" fmla="*/ 0 h 415"/>
                  <a:gd name="T84" fmla="*/ 0 w 255"/>
                  <a:gd name="T85" fmla="*/ 0 h 415"/>
                  <a:gd name="T86" fmla="*/ 0 w 255"/>
                  <a:gd name="T87" fmla="*/ 0 h 415"/>
                  <a:gd name="T88" fmla="*/ 0 w 255"/>
                  <a:gd name="T89" fmla="*/ 0 h 415"/>
                  <a:gd name="T90" fmla="*/ 0 w 255"/>
                  <a:gd name="T91" fmla="*/ 0 h 415"/>
                  <a:gd name="T92" fmla="*/ 0 w 255"/>
                  <a:gd name="T93" fmla="*/ 0 h 415"/>
                  <a:gd name="T94" fmla="*/ 0 w 255"/>
                  <a:gd name="T95" fmla="*/ 0 h 415"/>
                  <a:gd name="T96" fmla="*/ 0 w 255"/>
                  <a:gd name="T97" fmla="*/ 0 h 41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55"/>
                  <a:gd name="T148" fmla="*/ 0 h 415"/>
                  <a:gd name="T149" fmla="*/ 255 w 255"/>
                  <a:gd name="T150" fmla="*/ 415 h 41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55" h="415">
                    <a:moveTo>
                      <a:pt x="165" y="117"/>
                    </a:moveTo>
                    <a:lnTo>
                      <a:pt x="166" y="127"/>
                    </a:lnTo>
                    <a:lnTo>
                      <a:pt x="172" y="135"/>
                    </a:lnTo>
                    <a:lnTo>
                      <a:pt x="178" y="141"/>
                    </a:lnTo>
                    <a:lnTo>
                      <a:pt x="188" y="147"/>
                    </a:lnTo>
                    <a:lnTo>
                      <a:pt x="196" y="151"/>
                    </a:lnTo>
                    <a:lnTo>
                      <a:pt x="204" y="157"/>
                    </a:lnTo>
                    <a:lnTo>
                      <a:pt x="209" y="166"/>
                    </a:lnTo>
                    <a:lnTo>
                      <a:pt x="211" y="179"/>
                    </a:lnTo>
                    <a:lnTo>
                      <a:pt x="221" y="199"/>
                    </a:lnTo>
                    <a:lnTo>
                      <a:pt x="231" y="222"/>
                    </a:lnTo>
                    <a:lnTo>
                      <a:pt x="239" y="244"/>
                    </a:lnTo>
                    <a:lnTo>
                      <a:pt x="247" y="269"/>
                    </a:lnTo>
                    <a:lnTo>
                      <a:pt x="251" y="293"/>
                    </a:lnTo>
                    <a:lnTo>
                      <a:pt x="255" y="319"/>
                    </a:lnTo>
                    <a:lnTo>
                      <a:pt x="255" y="346"/>
                    </a:lnTo>
                    <a:lnTo>
                      <a:pt x="254" y="374"/>
                    </a:lnTo>
                    <a:lnTo>
                      <a:pt x="250" y="380"/>
                    </a:lnTo>
                    <a:lnTo>
                      <a:pt x="247" y="386"/>
                    </a:lnTo>
                    <a:lnTo>
                      <a:pt x="241" y="390"/>
                    </a:lnTo>
                    <a:lnTo>
                      <a:pt x="236" y="396"/>
                    </a:lnTo>
                    <a:lnTo>
                      <a:pt x="229" y="399"/>
                    </a:lnTo>
                    <a:lnTo>
                      <a:pt x="224" y="403"/>
                    </a:lnTo>
                    <a:lnTo>
                      <a:pt x="218" y="408"/>
                    </a:lnTo>
                    <a:lnTo>
                      <a:pt x="215" y="415"/>
                    </a:lnTo>
                    <a:lnTo>
                      <a:pt x="173" y="390"/>
                    </a:lnTo>
                    <a:lnTo>
                      <a:pt x="140" y="359"/>
                    </a:lnTo>
                    <a:lnTo>
                      <a:pt x="113" y="323"/>
                    </a:lnTo>
                    <a:lnTo>
                      <a:pt x="91" y="284"/>
                    </a:lnTo>
                    <a:lnTo>
                      <a:pt x="71" y="241"/>
                    </a:lnTo>
                    <a:lnTo>
                      <a:pt x="50" y="200"/>
                    </a:lnTo>
                    <a:lnTo>
                      <a:pt x="26" y="160"/>
                    </a:lnTo>
                    <a:lnTo>
                      <a:pt x="0" y="124"/>
                    </a:lnTo>
                    <a:lnTo>
                      <a:pt x="0" y="106"/>
                    </a:lnTo>
                    <a:lnTo>
                      <a:pt x="1" y="89"/>
                    </a:lnTo>
                    <a:lnTo>
                      <a:pt x="2" y="72"/>
                    </a:lnTo>
                    <a:lnTo>
                      <a:pt x="6" y="55"/>
                    </a:lnTo>
                    <a:lnTo>
                      <a:pt x="11" y="39"/>
                    </a:lnTo>
                    <a:lnTo>
                      <a:pt x="18" y="24"/>
                    </a:lnTo>
                    <a:lnTo>
                      <a:pt x="28" y="11"/>
                    </a:lnTo>
                    <a:lnTo>
                      <a:pt x="41" y="0"/>
                    </a:lnTo>
                    <a:lnTo>
                      <a:pt x="65" y="0"/>
                    </a:lnTo>
                    <a:lnTo>
                      <a:pt x="87" y="7"/>
                    </a:lnTo>
                    <a:lnTo>
                      <a:pt x="104" y="19"/>
                    </a:lnTo>
                    <a:lnTo>
                      <a:pt x="121" y="37"/>
                    </a:lnTo>
                    <a:lnTo>
                      <a:pt x="133" y="55"/>
                    </a:lnTo>
                    <a:lnTo>
                      <a:pt x="144" y="77"/>
                    </a:lnTo>
                    <a:lnTo>
                      <a:pt x="154" y="97"/>
                    </a:lnTo>
                    <a:lnTo>
                      <a:pt x="165" y="117"/>
                    </a:lnTo>
                    <a:close/>
                  </a:path>
                </a:pathLst>
              </a:custGeom>
              <a:solidFill>
                <a:srgbClr val="BF1A00"/>
              </a:solidFill>
              <a:ln w="9525">
                <a:noFill/>
                <a:round/>
                <a:headEnd/>
                <a:tailEnd/>
              </a:ln>
            </p:spPr>
            <p:txBody>
              <a:bodyPr/>
              <a:lstStyle/>
              <a:p>
                <a:pPr>
                  <a:defRPr/>
                </a:pPr>
                <a:endParaRPr lang="en-US" dirty="0">
                  <a:cs typeface="+mn-cs"/>
                </a:endParaRPr>
              </a:p>
            </p:txBody>
          </p:sp>
          <p:sp>
            <p:nvSpPr>
              <p:cNvPr id="75" name="Freeform 1115"/>
              <p:cNvSpPr>
                <a:spLocks/>
              </p:cNvSpPr>
              <p:nvPr/>
            </p:nvSpPr>
            <p:spPr bwMode="auto">
              <a:xfrm>
                <a:off x="4184" y="3238"/>
                <a:ext cx="84" cy="143"/>
              </a:xfrm>
              <a:custGeom>
                <a:avLst/>
                <a:gdLst>
                  <a:gd name="T0" fmla="*/ 0 w 334"/>
                  <a:gd name="T1" fmla="*/ 0 h 576"/>
                  <a:gd name="T2" fmla="*/ 0 w 334"/>
                  <a:gd name="T3" fmla="*/ 0 h 576"/>
                  <a:gd name="T4" fmla="*/ 0 w 334"/>
                  <a:gd name="T5" fmla="*/ 0 h 576"/>
                  <a:gd name="T6" fmla="*/ 0 w 334"/>
                  <a:gd name="T7" fmla="*/ 0 h 576"/>
                  <a:gd name="T8" fmla="*/ 0 w 334"/>
                  <a:gd name="T9" fmla="*/ 0 h 576"/>
                  <a:gd name="T10" fmla="*/ 0 w 334"/>
                  <a:gd name="T11" fmla="*/ 0 h 576"/>
                  <a:gd name="T12" fmla="*/ 0 w 334"/>
                  <a:gd name="T13" fmla="*/ 0 h 576"/>
                  <a:gd name="T14" fmla="*/ 0 w 334"/>
                  <a:gd name="T15" fmla="*/ 0 h 576"/>
                  <a:gd name="T16" fmla="*/ 0 w 334"/>
                  <a:gd name="T17" fmla="*/ 0 h 576"/>
                  <a:gd name="T18" fmla="*/ 0 w 334"/>
                  <a:gd name="T19" fmla="*/ 0 h 576"/>
                  <a:gd name="T20" fmla="*/ 0 w 334"/>
                  <a:gd name="T21" fmla="*/ 0 h 576"/>
                  <a:gd name="T22" fmla="*/ 0 w 334"/>
                  <a:gd name="T23" fmla="*/ 0 h 576"/>
                  <a:gd name="T24" fmla="*/ 0 w 334"/>
                  <a:gd name="T25" fmla="*/ 0 h 576"/>
                  <a:gd name="T26" fmla="*/ 0 w 334"/>
                  <a:gd name="T27" fmla="*/ 0 h 576"/>
                  <a:gd name="T28" fmla="*/ 0 w 334"/>
                  <a:gd name="T29" fmla="*/ 0 h 576"/>
                  <a:gd name="T30" fmla="*/ 0 w 334"/>
                  <a:gd name="T31" fmla="*/ 0 h 576"/>
                  <a:gd name="T32" fmla="*/ 0 w 334"/>
                  <a:gd name="T33" fmla="*/ 0 h 576"/>
                  <a:gd name="T34" fmla="*/ 0 w 334"/>
                  <a:gd name="T35" fmla="*/ 0 h 576"/>
                  <a:gd name="T36" fmla="*/ 0 w 334"/>
                  <a:gd name="T37" fmla="*/ 0 h 576"/>
                  <a:gd name="T38" fmla="*/ 0 w 334"/>
                  <a:gd name="T39" fmla="*/ 0 h 576"/>
                  <a:gd name="T40" fmla="*/ 0 w 334"/>
                  <a:gd name="T41" fmla="*/ 0 h 576"/>
                  <a:gd name="T42" fmla="*/ 0 w 334"/>
                  <a:gd name="T43" fmla="*/ 0 h 576"/>
                  <a:gd name="T44" fmla="*/ 0 w 334"/>
                  <a:gd name="T45" fmla="*/ 0 h 576"/>
                  <a:gd name="T46" fmla="*/ 0 w 334"/>
                  <a:gd name="T47" fmla="*/ 0 h 576"/>
                  <a:gd name="T48" fmla="*/ 0 w 334"/>
                  <a:gd name="T49" fmla="*/ 0 h 576"/>
                  <a:gd name="T50" fmla="*/ 0 w 334"/>
                  <a:gd name="T51" fmla="*/ 0 h 576"/>
                  <a:gd name="T52" fmla="*/ 0 w 334"/>
                  <a:gd name="T53" fmla="*/ 0 h 576"/>
                  <a:gd name="T54" fmla="*/ 0 w 334"/>
                  <a:gd name="T55" fmla="*/ 0 h 576"/>
                  <a:gd name="T56" fmla="*/ 0 w 334"/>
                  <a:gd name="T57" fmla="*/ 0 h 576"/>
                  <a:gd name="T58" fmla="*/ 0 w 334"/>
                  <a:gd name="T59" fmla="*/ 0 h 576"/>
                  <a:gd name="T60" fmla="*/ 0 w 334"/>
                  <a:gd name="T61" fmla="*/ 0 h 576"/>
                  <a:gd name="T62" fmla="*/ 0 w 334"/>
                  <a:gd name="T63" fmla="*/ 0 h 5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34"/>
                  <a:gd name="T97" fmla="*/ 0 h 576"/>
                  <a:gd name="T98" fmla="*/ 334 w 334"/>
                  <a:gd name="T99" fmla="*/ 576 h 5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34" h="576">
                    <a:moveTo>
                      <a:pt x="208" y="91"/>
                    </a:moveTo>
                    <a:lnTo>
                      <a:pt x="224" y="132"/>
                    </a:lnTo>
                    <a:lnTo>
                      <a:pt x="241" y="174"/>
                    </a:lnTo>
                    <a:lnTo>
                      <a:pt x="259" y="216"/>
                    </a:lnTo>
                    <a:lnTo>
                      <a:pt x="277" y="258"/>
                    </a:lnTo>
                    <a:lnTo>
                      <a:pt x="292" y="299"/>
                    </a:lnTo>
                    <a:lnTo>
                      <a:pt x="309" y="342"/>
                    </a:lnTo>
                    <a:lnTo>
                      <a:pt x="322" y="384"/>
                    </a:lnTo>
                    <a:lnTo>
                      <a:pt x="334" y="430"/>
                    </a:lnTo>
                    <a:lnTo>
                      <a:pt x="334" y="443"/>
                    </a:lnTo>
                    <a:lnTo>
                      <a:pt x="334" y="457"/>
                    </a:lnTo>
                    <a:lnTo>
                      <a:pt x="333" y="471"/>
                    </a:lnTo>
                    <a:lnTo>
                      <a:pt x="332" y="485"/>
                    </a:lnTo>
                    <a:lnTo>
                      <a:pt x="327" y="497"/>
                    </a:lnTo>
                    <a:lnTo>
                      <a:pt x="323" y="509"/>
                    </a:lnTo>
                    <a:lnTo>
                      <a:pt x="315" y="520"/>
                    </a:lnTo>
                    <a:lnTo>
                      <a:pt x="305" y="531"/>
                    </a:lnTo>
                    <a:lnTo>
                      <a:pt x="307" y="536"/>
                    </a:lnTo>
                    <a:lnTo>
                      <a:pt x="305" y="543"/>
                    </a:lnTo>
                    <a:lnTo>
                      <a:pt x="302" y="548"/>
                    </a:lnTo>
                    <a:lnTo>
                      <a:pt x="299" y="554"/>
                    </a:lnTo>
                    <a:lnTo>
                      <a:pt x="292" y="558"/>
                    </a:lnTo>
                    <a:lnTo>
                      <a:pt x="287" y="562"/>
                    </a:lnTo>
                    <a:lnTo>
                      <a:pt x="281" y="568"/>
                    </a:lnTo>
                    <a:lnTo>
                      <a:pt x="278" y="574"/>
                    </a:lnTo>
                    <a:lnTo>
                      <a:pt x="266" y="574"/>
                    </a:lnTo>
                    <a:lnTo>
                      <a:pt x="255" y="576"/>
                    </a:lnTo>
                    <a:lnTo>
                      <a:pt x="245" y="576"/>
                    </a:lnTo>
                    <a:lnTo>
                      <a:pt x="235" y="576"/>
                    </a:lnTo>
                    <a:lnTo>
                      <a:pt x="225" y="573"/>
                    </a:lnTo>
                    <a:lnTo>
                      <a:pt x="215" y="570"/>
                    </a:lnTo>
                    <a:lnTo>
                      <a:pt x="206" y="565"/>
                    </a:lnTo>
                    <a:lnTo>
                      <a:pt x="199" y="558"/>
                    </a:lnTo>
                    <a:lnTo>
                      <a:pt x="173" y="521"/>
                    </a:lnTo>
                    <a:lnTo>
                      <a:pt x="147" y="485"/>
                    </a:lnTo>
                    <a:lnTo>
                      <a:pt x="122" y="448"/>
                    </a:lnTo>
                    <a:lnTo>
                      <a:pt x="98" y="412"/>
                    </a:lnTo>
                    <a:lnTo>
                      <a:pt x="74" y="374"/>
                    </a:lnTo>
                    <a:lnTo>
                      <a:pt x="53" y="336"/>
                    </a:lnTo>
                    <a:lnTo>
                      <a:pt x="34" y="297"/>
                    </a:lnTo>
                    <a:lnTo>
                      <a:pt x="17" y="258"/>
                    </a:lnTo>
                    <a:lnTo>
                      <a:pt x="11" y="230"/>
                    </a:lnTo>
                    <a:lnTo>
                      <a:pt x="5" y="203"/>
                    </a:lnTo>
                    <a:lnTo>
                      <a:pt x="2" y="174"/>
                    </a:lnTo>
                    <a:lnTo>
                      <a:pt x="1" y="146"/>
                    </a:lnTo>
                    <a:lnTo>
                      <a:pt x="0" y="117"/>
                    </a:lnTo>
                    <a:lnTo>
                      <a:pt x="2" y="90"/>
                    </a:lnTo>
                    <a:lnTo>
                      <a:pt x="7" y="61"/>
                    </a:lnTo>
                    <a:lnTo>
                      <a:pt x="17" y="36"/>
                    </a:lnTo>
                    <a:lnTo>
                      <a:pt x="27" y="28"/>
                    </a:lnTo>
                    <a:lnTo>
                      <a:pt x="38" y="21"/>
                    </a:lnTo>
                    <a:lnTo>
                      <a:pt x="49" y="15"/>
                    </a:lnTo>
                    <a:lnTo>
                      <a:pt x="61" y="10"/>
                    </a:lnTo>
                    <a:lnTo>
                      <a:pt x="73" y="5"/>
                    </a:lnTo>
                    <a:lnTo>
                      <a:pt x="85" y="3"/>
                    </a:lnTo>
                    <a:lnTo>
                      <a:pt x="98" y="0"/>
                    </a:lnTo>
                    <a:lnTo>
                      <a:pt x="111" y="2"/>
                    </a:lnTo>
                    <a:lnTo>
                      <a:pt x="127" y="4"/>
                    </a:lnTo>
                    <a:lnTo>
                      <a:pt x="143" y="10"/>
                    </a:lnTo>
                    <a:lnTo>
                      <a:pt x="156" y="19"/>
                    </a:lnTo>
                    <a:lnTo>
                      <a:pt x="168" y="32"/>
                    </a:lnTo>
                    <a:lnTo>
                      <a:pt x="178" y="45"/>
                    </a:lnTo>
                    <a:lnTo>
                      <a:pt x="188" y="61"/>
                    </a:lnTo>
                    <a:lnTo>
                      <a:pt x="198" y="75"/>
                    </a:lnTo>
                    <a:lnTo>
                      <a:pt x="208" y="91"/>
                    </a:lnTo>
                    <a:close/>
                  </a:path>
                </a:pathLst>
              </a:custGeom>
              <a:solidFill>
                <a:srgbClr val="000000"/>
              </a:solidFill>
              <a:ln w="9525">
                <a:noFill/>
                <a:round/>
                <a:headEnd/>
                <a:tailEnd/>
              </a:ln>
            </p:spPr>
            <p:txBody>
              <a:bodyPr/>
              <a:lstStyle/>
              <a:p>
                <a:pPr>
                  <a:defRPr/>
                </a:pPr>
                <a:endParaRPr lang="en-US" dirty="0">
                  <a:cs typeface="+mn-cs"/>
                </a:endParaRPr>
              </a:p>
            </p:txBody>
          </p:sp>
          <p:sp>
            <p:nvSpPr>
              <p:cNvPr id="76" name="Freeform 1116"/>
              <p:cNvSpPr>
                <a:spLocks/>
              </p:cNvSpPr>
              <p:nvPr/>
            </p:nvSpPr>
            <p:spPr bwMode="auto">
              <a:xfrm>
                <a:off x="4195" y="3250"/>
                <a:ext cx="62" cy="120"/>
              </a:xfrm>
              <a:custGeom>
                <a:avLst/>
                <a:gdLst>
                  <a:gd name="T0" fmla="*/ 0 w 249"/>
                  <a:gd name="T1" fmla="*/ 0 h 482"/>
                  <a:gd name="T2" fmla="*/ 0 w 249"/>
                  <a:gd name="T3" fmla="*/ 0 h 482"/>
                  <a:gd name="T4" fmla="*/ 0 w 249"/>
                  <a:gd name="T5" fmla="*/ 0 h 482"/>
                  <a:gd name="T6" fmla="*/ 0 w 249"/>
                  <a:gd name="T7" fmla="*/ 0 h 482"/>
                  <a:gd name="T8" fmla="*/ 0 w 249"/>
                  <a:gd name="T9" fmla="*/ 0 h 482"/>
                  <a:gd name="T10" fmla="*/ 0 w 249"/>
                  <a:gd name="T11" fmla="*/ 0 h 482"/>
                  <a:gd name="T12" fmla="*/ 0 w 249"/>
                  <a:gd name="T13" fmla="*/ 0 h 482"/>
                  <a:gd name="T14" fmla="*/ 0 w 249"/>
                  <a:gd name="T15" fmla="*/ 0 h 482"/>
                  <a:gd name="T16" fmla="*/ 0 w 249"/>
                  <a:gd name="T17" fmla="*/ 0 h 482"/>
                  <a:gd name="T18" fmla="*/ 0 w 249"/>
                  <a:gd name="T19" fmla="*/ 0 h 482"/>
                  <a:gd name="T20" fmla="*/ 0 w 249"/>
                  <a:gd name="T21" fmla="*/ 0 h 482"/>
                  <a:gd name="T22" fmla="*/ 0 w 249"/>
                  <a:gd name="T23" fmla="*/ 0 h 482"/>
                  <a:gd name="T24" fmla="*/ 0 w 249"/>
                  <a:gd name="T25" fmla="*/ 0 h 482"/>
                  <a:gd name="T26" fmla="*/ 0 w 249"/>
                  <a:gd name="T27" fmla="*/ 0 h 482"/>
                  <a:gd name="T28" fmla="*/ 0 w 249"/>
                  <a:gd name="T29" fmla="*/ 0 h 482"/>
                  <a:gd name="T30" fmla="*/ 0 w 249"/>
                  <a:gd name="T31" fmla="*/ 0 h 482"/>
                  <a:gd name="T32" fmla="*/ 0 w 249"/>
                  <a:gd name="T33" fmla="*/ 0 h 482"/>
                  <a:gd name="T34" fmla="*/ 0 w 249"/>
                  <a:gd name="T35" fmla="*/ 0 h 482"/>
                  <a:gd name="T36" fmla="*/ 0 w 249"/>
                  <a:gd name="T37" fmla="*/ 0 h 482"/>
                  <a:gd name="T38" fmla="*/ 0 w 249"/>
                  <a:gd name="T39" fmla="*/ 0 h 482"/>
                  <a:gd name="T40" fmla="*/ 0 w 249"/>
                  <a:gd name="T41" fmla="*/ 0 h 482"/>
                  <a:gd name="T42" fmla="*/ 0 w 249"/>
                  <a:gd name="T43" fmla="*/ 0 h 482"/>
                  <a:gd name="T44" fmla="*/ 0 w 249"/>
                  <a:gd name="T45" fmla="*/ 0 h 482"/>
                  <a:gd name="T46" fmla="*/ 0 w 249"/>
                  <a:gd name="T47" fmla="*/ 0 h 482"/>
                  <a:gd name="T48" fmla="*/ 0 w 249"/>
                  <a:gd name="T49" fmla="*/ 0 h 482"/>
                  <a:gd name="T50" fmla="*/ 0 w 249"/>
                  <a:gd name="T51" fmla="*/ 0 h 482"/>
                  <a:gd name="T52" fmla="*/ 0 w 249"/>
                  <a:gd name="T53" fmla="*/ 0 h 482"/>
                  <a:gd name="T54" fmla="*/ 0 w 249"/>
                  <a:gd name="T55" fmla="*/ 0 h 482"/>
                  <a:gd name="T56" fmla="*/ 0 w 249"/>
                  <a:gd name="T57" fmla="*/ 0 h 482"/>
                  <a:gd name="T58" fmla="*/ 0 w 249"/>
                  <a:gd name="T59" fmla="*/ 0 h 482"/>
                  <a:gd name="T60" fmla="*/ 0 w 249"/>
                  <a:gd name="T61" fmla="*/ 0 h 482"/>
                  <a:gd name="T62" fmla="*/ 0 w 249"/>
                  <a:gd name="T63" fmla="*/ 0 h 482"/>
                  <a:gd name="T64" fmla="*/ 0 w 249"/>
                  <a:gd name="T65" fmla="*/ 0 h 482"/>
                  <a:gd name="T66" fmla="*/ 0 w 249"/>
                  <a:gd name="T67" fmla="*/ 0 h 482"/>
                  <a:gd name="T68" fmla="*/ 0 w 249"/>
                  <a:gd name="T69" fmla="*/ 0 h 482"/>
                  <a:gd name="T70" fmla="*/ 0 w 249"/>
                  <a:gd name="T71" fmla="*/ 0 h 482"/>
                  <a:gd name="T72" fmla="*/ 0 w 249"/>
                  <a:gd name="T73" fmla="*/ 0 h 482"/>
                  <a:gd name="T74" fmla="*/ 0 w 249"/>
                  <a:gd name="T75" fmla="*/ 0 h 482"/>
                  <a:gd name="T76" fmla="*/ 0 w 249"/>
                  <a:gd name="T77" fmla="*/ 0 h 482"/>
                  <a:gd name="T78" fmla="*/ 0 w 249"/>
                  <a:gd name="T79" fmla="*/ 0 h 482"/>
                  <a:gd name="T80" fmla="*/ 0 w 249"/>
                  <a:gd name="T81" fmla="*/ 0 h 482"/>
                  <a:gd name="T82" fmla="*/ 0 w 249"/>
                  <a:gd name="T83" fmla="*/ 0 h 482"/>
                  <a:gd name="T84" fmla="*/ 0 w 249"/>
                  <a:gd name="T85" fmla="*/ 0 h 482"/>
                  <a:gd name="T86" fmla="*/ 0 w 249"/>
                  <a:gd name="T87" fmla="*/ 0 h 482"/>
                  <a:gd name="T88" fmla="*/ 0 w 249"/>
                  <a:gd name="T89" fmla="*/ 0 h 482"/>
                  <a:gd name="T90" fmla="*/ 0 w 249"/>
                  <a:gd name="T91" fmla="*/ 0 h 482"/>
                  <a:gd name="T92" fmla="*/ 0 w 249"/>
                  <a:gd name="T93" fmla="*/ 0 h 4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9"/>
                  <a:gd name="T142" fmla="*/ 0 h 482"/>
                  <a:gd name="T143" fmla="*/ 249 w 249"/>
                  <a:gd name="T144" fmla="*/ 482 h 4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9" h="482">
                    <a:moveTo>
                      <a:pt x="111" y="46"/>
                    </a:moveTo>
                    <a:lnTo>
                      <a:pt x="127" y="94"/>
                    </a:lnTo>
                    <a:lnTo>
                      <a:pt x="147" y="143"/>
                    </a:lnTo>
                    <a:lnTo>
                      <a:pt x="167" y="191"/>
                    </a:lnTo>
                    <a:lnTo>
                      <a:pt x="187" y="238"/>
                    </a:lnTo>
                    <a:lnTo>
                      <a:pt x="206" y="285"/>
                    </a:lnTo>
                    <a:lnTo>
                      <a:pt x="224" y="334"/>
                    </a:lnTo>
                    <a:lnTo>
                      <a:pt x="238" y="383"/>
                    </a:lnTo>
                    <a:lnTo>
                      <a:pt x="249" y="436"/>
                    </a:lnTo>
                    <a:lnTo>
                      <a:pt x="246" y="442"/>
                    </a:lnTo>
                    <a:lnTo>
                      <a:pt x="244" y="448"/>
                    </a:lnTo>
                    <a:lnTo>
                      <a:pt x="240" y="454"/>
                    </a:lnTo>
                    <a:lnTo>
                      <a:pt x="238" y="460"/>
                    </a:lnTo>
                    <a:lnTo>
                      <a:pt x="231" y="471"/>
                    </a:lnTo>
                    <a:lnTo>
                      <a:pt x="224" y="482"/>
                    </a:lnTo>
                    <a:lnTo>
                      <a:pt x="204" y="460"/>
                    </a:lnTo>
                    <a:lnTo>
                      <a:pt x="184" y="440"/>
                    </a:lnTo>
                    <a:lnTo>
                      <a:pt x="165" y="417"/>
                    </a:lnTo>
                    <a:lnTo>
                      <a:pt x="148" y="394"/>
                    </a:lnTo>
                    <a:lnTo>
                      <a:pt x="131" y="369"/>
                    </a:lnTo>
                    <a:lnTo>
                      <a:pt x="115" y="345"/>
                    </a:lnTo>
                    <a:lnTo>
                      <a:pt x="99" y="320"/>
                    </a:lnTo>
                    <a:lnTo>
                      <a:pt x="86" y="296"/>
                    </a:lnTo>
                    <a:lnTo>
                      <a:pt x="68" y="275"/>
                    </a:lnTo>
                    <a:lnTo>
                      <a:pt x="53" y="253"/>
                    </a:lnTo>
                    <a:lnTo>
                      <a:pt x="43" y="229"/>
                    </a:lnTo>
                    <a:lnTo>
                      <a:pt x="34" y="204"/>
                    </a:lnTo>
                    <a:lnTo>
                      <a:pt x="25" y="176"/>
                    </a:lnTo>
                    <a:lnTo>
                      <a:pt x="18" y="150"/>
                    </a:lnTo>
                    <a:lnTo>
                      <a:pt x="10" y="124"/>
                    </a:lnTo>
                    <a:lnTo>
                      <a:pt x="1" y="99"/>
                    </a:lnTo>
                    <a:lnTo>
                      <a:pt x="0" y="85"/>
                    </a:lnTo>
                    <a:lnTo>
                      <a:pt x="0" y="71"/>
                    </a:lnTo>
                    <a:lnTo>
                      <a:pt x="0" y="56"/>
                    </a:lnTo>
                    <a:lnTo>
                      <a:pt x="3" y="43"/>
                    </a:lnTo>
                    <a:lnTo>
                      <a:pt x="8" y="29"/>
                    </a:lnTo>
                    <a:lnTo>
                      <a:pt x="15" y="19"/>
                    </a:lnTo>
                    <a:lnTo>
                      <a:pt x="25" y="10"/>
                    </a:lnTo>
                    <a:lnTo>
                      <a:pt x="40" y="6"/>
                    </a:lnTo>
                    <a:lnTo>
                      <a:pt x="51" y="0"/>
                    </a:lnTo>
                    <a:lnTo>
                      <a:pt x="63" y="0"/>
                    </a:lnTo>
                    <a:lnTo>
                      <a:pt x="73" y="4"/>
                    </a:lnTo>
                    <a:lnTo>
                      <a:pt x="83" y="10"/>
                    </a:lnTo>
                    <a:lnTo>
                      <a:pt x="90" y="18"/>
                    </a:lnTo>
                    <a:lnTo>
                      <a:pt x="98" y="26"/>
                    </a:lnTo>
                    <a:lnTo>
                      <a:pt x="105" y="36"/>
                    </a:lnTo>
                    <a:lnTo>
                      <a:pt x="111" y="46"/>
                    </a:lnTo>
                    <a:close/>
                  </a:path>
                </a:pathLst>
              </a:custGeom>
              <a:solidFill>
                <a:srgbClr val="BF1A00"/>
              </a:solidFill>
              <a:ln w="9525">
                <a:noFill/>
                <a:round/>
                <a:headEnd/>
                <a:tailEnd/>
              </a:ln>
            </p:spPr>
            <p:txBody>
              <a:bodyPr/>
              <a:lstStyle/>
              <a:p>
                <a:pPr>
                  <a:defRPr/>
                </a:pPr>
                <a:endParaRPr lang="en-US" dirty="0">
                  <a:cs typeface="+mn-cs"/>
                </a:endParaRPr>
              </a:p>
            </p:txBody>
          </p:sp>
          <p:sp>
            <p:nvSpPr>
              <p:cNvPr id="77" name="Freeform 1117"/>
              <p:cNvSpPr>
                <a:spLocks/>
              </p:cNvSpPr>
              <p:nvPr/>
            </p:nvSpPr>
            <p:spPr bwMode="auto">
              <a:xfrm>
                <a:off x="4797" y="3578"/>
                <a:ext cx="32" cy="65"/>
              </a:xfrm>
              <a:custGeom>
                <a:avLst/>
                <a:gdLst>
                  <a:gd name="T0" fmla="*/ 0 w 126"/>
                  <a:gd name="T1" fmla="*/ 0 h 261"/>
                  <a:gd name="T2" fmla="*/ 0 w 126"/>
                  <a:gd name="T3" fmla="*/ 0 h 261"/>
                  <a:gd name="T4" fmla="*/ 0 w 126"/>
                  <a:gd name="T5" fmla="*/ 0 h 261"/>
                  <a:gd name="T6" fmla="*/ 0 w 126"/>
                  <a:gd name="T7" fmla="*/ 0 h 261"/>
                  <a:gd name="T8" fmla="*/ 0 w 126"/>
                  <a:gd name="T9" fmla="*/ 0 h 261"/>
                  <a:gd name="T10" fmla="*/ 0 w 126"/>
                  <a:gd name="T11" fmla="*/ 0 h 261"/>
                  <a:gd name="T12" fmla="*/ 0 w 126"/>
                  <a:gd name="T13" fmla="*/ 0 h 261"/>
                  <a:gd name="T14" fmla="*/ 0 w 126"/>
                  <a:gd name="T15" fmla="*/ 0 h 261"/>
                  <a:gd name="T16" fmla="*/ 0 w 126"/>
                  <a:gd name="T17" fmla="*/ 0 h 261"/>
                  <a:gd name="T18" fmla="*/ 0 w 126"/>
                  <a:gd name="T19" fmla="*/ 0 h 261"/>
                  <a:gd name="T20" fmla="*/ 0 w 126"/>
                  <a:gd name="T21" fmla="*/ 0 h 261"/>
                  <a:gd name="T22" fmla="*/ 0 w 126"/>
                  <a:gd name="T23" fmla="*/ 0 h 261"/>
                  <a:gd name="T24" fmla="*/ 0 w 126"/>
                  <a:gd name="T25" fmla="*/ 0 h 261"/>
                  <a:gd name="T26" fmla="*/ 0 w 126"/>
                  <a:gd name="T27" fmla="*/ 0 h 261"/>
                  <a:gd name="T28" fmla="*/ 0 w 126"/>
                  <a:gd name="T29" fmla="*/ 0 h 261"/>
                  <a:gd name="T30" fmla="*/ 0 w 126"/>
                  <a:gd name="T31" fmla="*/ 0 h 261"/>
                  <a:gd name="T32" fmla="*/ 0 w 126"/>
                  <a:gd name="T33" fmla="*/ 0 h 261"/>
                  <a:gd name="T34" fmla="*/ 0 w 126"/>
                  <a:gd name="T35" fmla="*/ 0 h 261"/>
                  <a:gd name="T36" fmla="*/ 0 w 126"/>
                  <a:gd name="T37" fmla="*/ 0 h 261"/>
                  <a:gd name="T38" fmla="*/ 0 w 126"/>
                  <a:gd name="T39" fmla="*/ 0 h 261"/>
                  <a:gd name="T40" fmla="*/ 0 w 126"/>
                  <a:gd name="T41" fmla="*/ 0 h 261"/>
                  <a:gd name="T42" fmla="*/ 0 w 126"/>
                  <a:gd name="T43" fmla="*/ 0 h 261"/>
                  <a:gd name="T44" fmla="*/ 0 w 126"/>
                  <a:gd name="T45" fmla="*/ 0 h 261"/>
                  <a:gd name="T46" fmla="*/ 0 w 126"/>
                  <a:gd name="T47" fmla="*/ 0 h 261"/>
                  <a:gd name="T48" fmla="*/ 0 w 126"/>
                  <a:gd name="T49" fmla="*/ 0 h 2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6"/>
                  <a:gd name="T76" fmla="*/ 0 h 261"/>
                  <a:gd name="T77" fmla="*/ 126 w 126"/>
                  <a:gd name="T78" fmla="*/ 261 h 26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6" h="261">
                    <a:moveTo>
                      <a:pt x="126" y="261"/>
                    </a:moveTo>
                    <a:lnTo>
                      <a:pt x="105" y="243"/>
                    </a:lnTo>
                    <a:lnTo>
                      <a:pt x="90" y="222"/>
                    </a:lnTo>
                    <a:lnTo>
                      <a:pt x="77" y="197"/>
                    </a:lnTo>
                    <a:lnTo>
                      <a:pt x="67" y="172"/>
                    </a:lnTo>
                    <a:lnTo>
                      <a:pt x="57" y="144"/>
                    </a:lnTo>
                    <a:lnTo>
                      <a:pt x="48" y="118"/>
                    </a:lnTo>
                    <a:lnTo>
                      <a:pt x="36" y="91"/>
                    </a:lnTo>
                    <a:lnTo>
                      <a:pt x="23" y="68"/>
                    </a:lnTo>
                    <a:lnTo>
                      <a:pt x="20" y="58"/>
                    </a:lnTo>
                    <a:lnTo>
                      <a:pt x="18" y="50"/>
                    </a:lnTo>
                    <a:lnTo>
                      <a:pt x="15" y="40"/>
                    </a:lnTo>
                    <a:lnTo>
                      <a:pt x="13" y="32"/>
                    </a:lnTo>
                    <a:lnTo>
                      <a:pt x="8" y="24"/>
                    </a:lnTo>
                    <a:lnTo>
                      <a:pt x="5" y="16"/>
                    </a:lnTo>
                    <a:lnTo>
                      <a:pt x="2" y="7"/>
                    </a:lnTo>
                    <a:lnTo>
                      <a:pt x="0" y="0"/>
                    </a:lnTo>
                    <a:lnTo>
                      <a:pt x="21" y="27"/>
                    </a:lnTo>
                    <a:lnTo>
                      <a:pt x="41" y="58"/>
                    </a:lnTo>
                    <a:lnTo>
                      <a:pt x="57" y="90"/>
                    </a:lnTo>
                    <a:lnTo>
                      <a:pt x="73" y="125"/>
                    </a:lnTo>
                    <a:lnTo>
                      <a:pt x="86" y="157"/>
                    </a:lnTo>
                    <a:lnTo>
                      <a:pt x="99" y="192"/>
                    </a:lnTo>
                    <a:lnTo>
                      <a:pt x="112" y="227"/>
                    </a:lnTo>
                    <a:lnTo>
                      <a:pt x="126" y="261"/>
                    </a:lnTo>
                    <a:close/>
                  </a:path>
                </a:pathLst>
              </a:custGeom>
              <a:solidFill>
                <a:srgbClr val="FF1A00"/>
              </a:solidFill>
              <a:ln w="9525">
                <a:noFill/>
                <a:round/>
                <a:headEnd/>
                <a:tailEnd/>
              </a:ln>
            </p:spPr>
            <p:txBody>
              <a:bodyPr/>
              <a:lstStyle/>
              <a:p>
                <a:pPr>
                  <a:defRPr/>
                </a:pPr>
                <a:endParaRPr lang="en-US" dirty="0">
                  <a:cs typeface="+mn-cs"/>
                </a:endParaRPr>
              </a:p>
            </p:txBody>
          </p:sp>
        </p:grpSp>
      </p:grpSp>
      <p:grpSp>
        <p:nvGrpSpPr>
          <p:cNvPr id="8" name="Group 1073"/>
          <p:cNvGrpSpPr>
            <a:grpSpLocks/>
          </p:cNvGrpSpPr>
          <p:nvPr/>
        </p:nvGrpSpPr>
        <p:grpSpPr bwMode="auto">
          <a:xfrm>
            <a:off x="494941" y="3595121"/>
            <a:ext cx="1516805" cy="916597"/>
            <a:chOff x="1540" y="2318"/>
            <a:chExt cx="950" cy="650"/>
          </a:xfrm>
          <a:effectLst>
            <a:outerShdw blurRad="50800" dist="38100" dir="2700000" algn="tl" rotWithShape="0">
              <a:prstClr val="black">
                <a:alpha val="40000"/>
              </a:prstClr>
            </a:outerShdw>
          </a:effectLst>
        </p:grpSpPr>
        <p:sp>
          <p:nvSpPr>
            <p:cNvPr id="79" name="Freeform 1074"/>
            <p:cNvSpPr>
              <a:spLocks/>
            </p:cNvSpPr>
            <p:nvPr/>
          </p:nvSpPr>
          <p:spPr bwMode="auto">
            <a:xfrm>
              <a:off x="1540" y="2318"/>
              <a:ext cx="950" cy="650"/>
            </a:xfrm>
            <a:custGeom>
              <a:avLst/>
              <a:gdLst>
                <a:gd name="T0" fmla="*/ 0 w 3797"/>
                <a:gd name="T1" fmla="*/ 0 h 2598"/>
                <a:gd name="T2" fmla="*/ 0 w 3797"/>
                <a:gd name="T3" fmla="*/ 0 h 2598"/>
                <a:gd name="T4" fmla="*/ 0 w 3797"/>
                <a:gd name="T5" fmla="*/ 0 h 2598"/>
                <a:gd name="T6" fmla="*/ 0 w 3797"/>
                <a:gd name="T7" fmla="*/ 0 h 2598"/>
                <a:gd name="T8" fmla="*/ 0 w 3797"/>
                <a:gd name="T9" fmla="*/ 0 h 2598"/>
                <a:gd name="T10" fmla="*/ 0 w 3797"/>
                <a:gd name="T11" fmla="*/ 0 h 2598"/>
                <a:gd name="T12" fmla="*/ 0 w 3797"/>
                <a:gd name="T13" fmla="*/ 0 h 2598"/>
                <a:gd name="T14" fmla="*/ 0 w 3797"/>
                <a:gd name="T15" fmla="*/ 0 h 2598"/>
                <a:gd name="T16" fmla="*/ 0 w 3797"/>
                <a:gd name="T17" fmla="*/ 0 h 2598"/>
                <a:gd name="T18" fmla="*/ 0 w 3797"/>
                <a:gd name="T19" fmla="*/ 0 h 2598"/>
                <a:gd name="T20" fmla="*/ 0 w 3797"/>
                <a:gd name="T21" fmla="*/ 0 h 2598"/>
                <a:gd name="T22" fmla="*/ 0 w 3797"/>
                <a:gd name="T23" fmla="*/ 0 h 2598"/>
                <a:gd name="T24" fmla="*/ 0 w 3797"/>
                <a:gd name="T25" fmla="*/ 0 h 2598"/>
                <a:gd name="T26" fmla="*/ 0 w 3797"/>
                <a:gd name="T27" fmla="*/ 0 h 2598"/>
                <a:gd name="T28" fmla="*/ 0 w 3797"/>
                <a:gd name="T29" fmla="*/ 0 h 2598"/>
                <a:gd name="T30" fmla="*/ 0 w 3797"/>
                <a:gd name="T31" fmla="*/ 0 h 2598"/>
                <a:gd name="T32" fmla="*/ 0 w 3797"/>
                <a:gd name="T33" fmla="*/ 0 h 2598"/>
                <a:gd name="T34" fmla="*/ 0 w 3797"/>
                <a:gd name="T35" fmla="*/ 0 h 2598"/>
                <a:gd name="T36" fmla="*/ 0 w 3797"/>
                <a:gd name="T37" fmla="*/ 0 h 2598"/>
                <a:gd name="T38" fmla="*/ 0 w 3797"/>
                <a:gd name="T39" fmla="*/ 0 h 2598"/>
                <a:gd name="T40" fmla="*/ 0 w 3797"/>
                <a:gd name="T41" fmla="*/ 0 h 2598"/>
                <a:gd name="T42" fmla="*/ 0 w 3797"/>
                <a:gd name="T43" fmla="*/ 0 h 2598"/>
                <a:gd name="T44" fmla="*/ 0 w 3797"/>
                <a:gd name="T45" fmla="*/ 0 h 2598"/>
                <a:gd name="T46" fmla="*/ 0 w 3797"/>
                <a:gd name="T47" fmla="*/ 0 h 2598"/>
                <a:gd name="T48" fmla="*/ 0 w 3797"/>
                <a:gd name="T49" fmla="*/ 0 h 2598"/>
                <a:gd name="T50" fmla="*/ 0 w 3797"/>
                <a:gd name="T51" fmla="*/ 0 h 2598"/>
                <a:gd name="T52" fmla="*/ 0 w 3797"/>
                <a:gd name="T53" fmla="*/ 0 h 2598"/>
                <a:gd name="T54" fmla="*/ 0 w 3797"/>
                <a:gd name="T55" fmla="*/ 0 h 2598"/>
                <a:gd name="T56" fmla="*/ 0 w 3797"/>
                <a:gd name="T57" fmla="*/ 0 h 2598"/>
                <a:gd name="T58" fmla="*/ 0 w 3797"/>
                <a:gd name="T59" fmla="*/ 0 h 2598"/>
                <a:gd name="T60" fmla="*/ 0 w 3797"/>
                <a:gd name="T61" fmla="*/ 0 h 2598"/>
                <a:gd name="T62" fmla="*/ 0 w 3797"/>
                <a:gd name="T63" fmla="*/ 0 h 2598"/>
                <a:gd name="T64" fmla="*/ 0 w 3797"/>
                <a:gd name="T65" fmla="*/ 0 h 2598"/>
                <a:gd name="T66" fmla="*/ 0 w 3797"/>
                <a:gd name="T67" fmla="*/ 0 h 2598"/>
                <a:gd name="T68" fmla="*/ 0 w 3797"/>
                <a:gd name="T69" fmla="*/ 0 h 2598"/>
                <a:gd name="T70" fmla="*/ 0 w 3797"/>
                <a:gd name="T71" fmla="*/ 0 h 2598"/>
                <a:gd name="T72" fmla="*/ 0 w 3797"/>
                <a:gd name="T73" fmla="*/ 0 h 2598"/>
                <a:gd name="T74" fmla="*/ 0 w 3797"/>
                <a:gd name="T75" fmla="*/ 0 h 2598"/>
                <a:gd name="T76" fmla="*/ 0 w 3797"/>
                <a:gd name="T77" fmla="*/ 0 h 2598"/>
                <a:gd name="T78" fmla="*/ 0 w 3797"/>
                <a:gd name="T79" fmla="*/ 0 h 2598"/>
                <a:gd name="T80" fmla="*/ 0 w 3797"/>
                <a:gd name="T81" fmla="*/ 0 h 2598"/>
                <a:gd name="T82" fmla="*/ 0 w 3797"/>
                <a:gd name="T83" fmla="*/ 0 h 2598"/>
                <a:gd name="T84" fmla="*/ 0 w 3797"/>
                <a:gd name="T85" fmla="*/ 0 h 2598"/>
                <a:gd name="T86" fmla="*/ 0 w 3797"/>
                <a:gd name="T87" fmla="*/ 0 h 2598"/>
                <a:gd name="T88" fmla="*/ 0 w 3797"/>
                <a:gd name="T89" fmla="*/ 0 h 2598"/>
                <a:gd name="T90" fmla="*/ 0 w 3797"/>
                <a:gd name="T91" fmla="*/ 0 h 2598"/>
                <a:gd name="T92" fmla="*/ 0 w 3797"/>
                <a:gd name="T93" fmla="*/ 0 h 2598"/>
                <a:gd name="T94" fmla="*/ 0 w 3797"/>
                <a:gd name="T95" fmla="*/ 0 h 2598"/>
                <a:gd name="T96" fmla="*/ 0 w 3797"/>
                <a:gd name="T97" fmla="*/ 0 h 2598"/>
                <a:gd name="T98" fmla="*/ 0 w 3797"/>
                <a:gd name="T99" fmla="*/ 0 h 2598"/>
                <a:gd name="T100" fmla="*/ 0 w 3797"/>
                <a:gd name="T101" fmla="*/ 0 h 2598"/>
                <a:gd name="T102" fmla="*/ 0 w 3797"/>
                <a:gd name="T103" fmla="*/ 0 h 2598"/>
                <a:gd name="T104" fmla="*/ 0 w 3797"/>
                <a:gd name="T105" fmla="*/ 0 h 2598"/>
                <a:gd name="T106" fmla="*/ 0 w 3797"/>
                <a:gd name="T107" fmla="*/ 0 h 2598"/>
                <a:gd name="T108" fmla="*/ 0 w 3797"/>
                <a:gd name="T109" fmla="*/ 0 h 2598"/>
                <a:gd name="T110" fmla="*/ 0 w 3797"/>
                <a:gd name="T111" fmla="*/ 0 h 25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97"/>
                <a:gd name="T169" fmla="*/ 0 h 2598"/>
                <a:gd name="T170" fmla="*/ 3797 w 3797"/>
                <a:gd name="T171" fmla="*/ 2598 h 25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97" h="2598">
                  <a:moveTo>
                    <a:pt x="1970" y="163"/>
                  </a:moveTo>
                  <a:lnTo>
                    <a:pt x="2027" y="204"/>
                  </a:lnTo>
                  <a:lnTo>
                    <a:pt x="2080" y="248"/>
                  </a:lnTo>
                  <a:lnTo>
                    <a:pt x="2127" y="295"/>
                  </a:lnTo>
                  <a:lnTo>
                    <a:pt x="2171" y="345"/>
                  </a:lnTo>
                  <a:lnTo>
                    <a:pt x="2210" y="396"/>
                  </a:lnTo>
                  <a:lnTo>
                    <a:pt x="2249" y="450"/>
                  </a:lnTo>
                  <a:lnTo>
                    <a:pt x="2287" y="506"/>
                  </a:lnTo>
                  <a:lnTo>
                    <a:pt x="2326" y="566"/>
                  </a:lnTo>
                  <a:lnTo>
                    <a:pt x="2421" y="530"/>
                  </a:lnTo>
                  <a:lnTo>
                    <a:pt x="2518" y="511"/>
                  </a:lnTo>
                  <a:lnTo>
                    <a:pt x="2614" y="501"/>
                  </a:lnTo>
                  <a:lnTo>
                    <a:pt x="2712" y="504"/>
                  </a:lnTo>
                  <a:lnTo>
                    <a:pt x="2810" y="510"/>
                  </a:lnTo>
                  <a:lnTo>
                    <a:pt x="2908" y="524"/>
                  </a:lnTo>
                  <a:lnTo>
                    <a:pt x="3007" y="538"/>
                  </a:lnTo>
                  <a:lnTo>
                    <a:pt x="3106" y="554"/>
                  </a:lnTo>
                  <a:lnTo>
                    <a:pt x="3240" y="609"/>
                  </a:lnTo>
                  <a:lnTo>
                    <a:pt x="3367" y="683"/>
                  </a:lnTo>
                  <a:lnTo>
                    <a:pt x="3480" y="776"/>
                  </a:lnTo>
                  <a:lnTo>
                    <a:pt x="3582" y="883"/>
                  </a:lnTo>
                  <a:lnTo>
                    <a:pt x="3665" y="1003"/>
                  </a:lnTo>
                  <a:lnTo>
                    <a:pt x="3731" y="1135"/>
                  </a:lnTo>
                  <a:lnTo>
                    <a:pt x="3775" y="1273"/>
                  </a:lnTo>
                  <a:lnTo>
                    <a:pt x="3797" y="1420"/>
                  </a:lnTo>
                  <a:lnTo>
                    <a:pt x="3797" y="1526"/>
                  </a:lnTo>
                  <a:lnTo>
                    <a:pt x="3787" y="1630"/>
                  </a:lnTo>
                  <a:lnTo>
                    <a:pt x="3765" y="1729"/>
                  </a:lnTo>
                  <a:lnTo>
                    <a:pt x="3736" y="1825"/>
                  </a:lnTo>
                  <a:lnTo>
                    <a:pt x="3698" y="1916"/>
                  </a:lnTo>
                  <a:lnTo>
                    <a:pt x="3656" y="2008"/>
                  </a:lnTo>
                  <a:lnTo>
                    <a:pt x="3611" y="2098"/>
                  </a:lnTo>
                  <a:lnTo>
                    <a:pt x="3565" y="2188"/>
                  </a:lnTo>
                  <a:lnTo>
                    <a:pt x="3478" y="2298"/>
                  </a:lnTo>
                  <a:lnTo>
                    <a:pt x="3378" y="2385"/>
                  </a:lnTo>
                  <a:lnTo>
                    <a:pt x="3265" y="2451"/>
                  </a:lnTo>
                  <a:lnTo>
                    <a:pt x="3146" y="2500"/>
                  </a:lnTo>
                  <a:lnTo>
                    <a:pt x="3017" y="2536"/>
                  </a:lnTo>
                  <a:lnTo>
                    <a:pt x="2886" y="2561"/>
                  </a:lnTo>
                  <a:lnTo>
                    <a:pt x="2752" y="2580"/>
                  </a:lnTo>
                  <a:lnTo>
                    <a:pt x="2617" y="2598"/>
                  </a:lnTo>
                  <a:lnTo>
                    <a:pt x="2523" y="2589"/>
                  </a:lnTo>
                  <a:lnTo>
                    <a:pt x="2433" y="2575"/>
                  </a:lnTo>
                  <a:lnTo>
                    <a:pt x="2344" y="2554"/>
                  </a:lnTo>
                  <a:lnTo>
                    <a:pt x="2261" y="2526"/>
                  </a:lnTo>
                  <a:lnTo>
                    <a:pt x="2178" y="2487"/>
                  </a:lnTo>
                  <a:lnTo>
                    <a:pt x="2101" y="2441"/>
                  </a:lnTo>
                  <a:lnTo>
                    <a:pt x="2028" y="2384"/>
                  </a:lnTo>
                  <a:lnTo>
                    <a:pt x="1960" y="2317"/>
                  </a:lnTo>
                  <a:lnTo>
                    <a:pt x="1934" y="2314"/>
                  </a:lnTo>
                  <a:lnTo>
                    <a:pt x="1911" y="2319"/>
                  </a:lnTo>
                  <a:lnTo>
                    <a:pt x="1889" y="2330"/>
                  </a:lnTo>
                  <a:lnTo>
                    <a:pt x="1868" y="2345"/>
                  </a:lnTo>
                  <a:lnTo>
                    <a:pt x="1847" y="2360"/>
                  </a:lnTo>
                  <a:lnTo>
                    <a:pt x="1825" y="2376"/>
                  </a:lnTo>
                  <a:lnTo>
                    <a:pt x="1803" y="2390"/>
                  </a:lnTo>
                  <a:lnTo>
                    <a:pt x="1781" y="2402"/>
                  </a:lnTo>
                  <a:lnTo>
                    <a:pt x="1643" y="2473"/>
                  </a:lnTo>
                  <a:lnTo>
                    <a:pt x="1498" y="2522"/>
                  </a:lnTo>
                  <a:lnTo>
                    <a:pt x="1345" y="2550"/>
                  </a:lnTo>
                  <a:lnTo>
                    <a:pt x="1189" y="2556"/>
                  </a:lnTo>
                  <a:lnTo>
                    <a:pt x="1032" y="2541"/>
                  </a:lnTo>
                  <a:lnTo>
                    <a:pt x="880" y="2508"/>
                  </a:lnTo>
                  <a:lnTo>
                    <a:pt x="736" y="2455"/>
                  </a:lnTo>
                  <a:lnTo>
                    <a:pt x="603" y="2384"/>
                  </a:lnTo>
                  <a:lnTo>
                    <a:pt x="484" y="2282"/>
                  </a:lnTo>
                  <a:lnTo>
                    <a:pt x="374" y="2173"/>
                  </a:lnTo>
                  <a:lnTo>
                    <a:pt x="273" y="2055"/>
                  </a:lnTo>
                  <a:lnTo>
                    <a:pt x="184" y="1930"/>
                  </a:lnTo>
                  <a:lnTo>
                    <a:pt x="109" y="1796"/>
                  </a:lnTo>
                  <a:lnTo>
                    <a:pt x="53" y="1656"/>
                  </a:lnTo>
                  <a:lnTo>
                    <a:pt x="17" y="1510"/>
                  </a:lnTo>
                  <a:lnTo>
                    <a:pt x="6" y="1359"/>
                  </a:lnTo>
                  <a:lnTo>
                    <a:pt x="15" y="1348"/>
                  </a:lnTo>
                  <a:lnTo>
                    <a:pt x="17" y="1338"/>
                  </a:lnTo>
                  <a:lnTo>
                    <a:pt x="15" y="1325"/>
                  </a:lnTo>
                  <a:lnTo>
                    <a:pt x="11" y="1313"/>
                  </a:lnTo>
                  <a:lnTo>
                    <a:pt x="5" y="1301"/>
                  </a:lnTo>
                  <a:lnTo>
                    <a:pt x="1" y="1288"/>
                  </a:lnTo>
                  <a:lnTo>
                    <a:pt x="0" y="1277"/>
                  </a:lnTo>
                  <a:lnTo>
                    <a:pt x="6" y="1267"/>
                  </a:lnTo>
                  <a:lnTo>
                    <a:pt x="20" y="1139"/>
                  </a:lnTo>
                  <a:lnTo>
                    <a:pt x="38" y="1153"/>
                  </a:lnTo>
                  <a:lnTo>
                    <a:pt x="44" y="1145"/>
                  </a:lnTo>
                  <a:lnTo>
                    <a:pt x="52" y="1139"/>
                  </a:lnTo>
                  <a:lnTo>
                    <a:pt x="55" y="1130"/>
                  </a:lnTo>
                  <a:lnTo>
                    <a:pt x="55" y="1121"/>
                  </a:lnTo>
                  <a:lnTo>
                    <a:pt x="30" y="1103"/>
                  </a:lnTo>
                  <a:lnTo>
                    <a:pt x="39" y="1057"/>
                  </a:lnTo>
                  <a:lnTo>
                    <a:pt x="47" y="1010"/>
                  </a:lnTo>
                  <a:lnTo>
                    <a:pt x="52" y="962"/>
                  </a:lnTo>
                  <a:lnTo>
                    <a:pt x="59" y="916"/>
                  </a:lnTo>
                  <a:lnTo>
                    <a:pt x="68" y="869"/>
                  </a:lnTo>
                  <a:lnTo>
                    <a:pt x="82" y="828"/>
                  </a:lnTo>
                  <a:lnTo>
                    <a:pt x="102" y="787"/>
                  </a:lnTo>
                  <a:lnTo>
                    <a:pt x="134" y="754"/>
                  </a:lnTo>
                  <a:lnTo>
                    <a:pt x="178" y="652"/>
                  </a:lnTo>
                  <a:lnTo>
                    <a:pt x="234" y="557"/>
                  </a:lnTo>
                  <a:lnTo>
                    <a:pt x="298" y="467"/>
                  </a:lnTo>
                  <a:lnTo>
                    <a:pt x="373" y="386"/>
                  </a:lnTo>
                  <a:lnTo>
                    <a:pt x="451" y="309"/>
                  </a:lnTo>
                  <a:lnTo>
                    <a:pt x="537" y="238"/>
                  </a:lnTo>
                  <a:lnTo>
                    <a:pt x="627" y="172"/>
                  </a:lnTo>
                  <a:lnTo>
                    <a:pt x="721" y="114"/>
                  </a:lnTo>
                  <a:lnTo>
                    <a:pt x="868" y="63"/>
                  </a:lnTo>
                  <a:lnTo>
                    <a:pt x="1026" y="27"/>
                  </a:lnTo>
                  <a:lnTo>
                    <a:pt x="1189" y="5"/>
                  </a:lnTo>
                  <a:lnTo>
                    <a:pt x="1356" y="0"/>
                  </a:lnTo>
                  <a:lnTo>
                    <a:pt x="1519" y="10"/>
                  </a:lnTo>
                  <a:lnTo>
                    <a:pt x="1679" y="40"/>
                  </a:lnTo>
                  <a:lnTo>
                    <a:pt x="1829" y="90"/>
                  </a:lnTo>
                  <a:lnTo>
                    <a:pt x="1970" y="163"/>
                  </a:lnTo>
                  <a:close/>
                </a:path>
              </a:pathLst>
            </a:custGeom>
            <a:solidFill>
              <a:srgbClr val="000000"/>
            </a:solidFill>
            <a:ln w="9525">
              <a:noFill/>
              <a:round/>
              <a:headEnd/>
              <a:tailEnd/>
            </a:ln>
          </p:spPr>
          <p:txBody>
            <a:bodyPr/>
            <a:lstStyle/>
            <a:p>
              <a:pPr>
                <a:defRPr/>
              </a:pPr>
              <a:endParaRPr lang="en-US" dirty="0">
                <a:cs typeface="+mn-cs"/>
              </a:endParaRPr>
            </a:p>
          </p:txBody>
        </p:sp>
        <p:sp>
          <p:nvSpPr>
            <p:cNvPr id="80" name="Freeform 1075"/>
            <p:cNvSpPr>
              <a:spLocks/>
            </p:cNvSpPr>
            <p:nvPr/>
          </p:nvSpPr>
          <p:spPr bwMode="auto">
            <a:xfrm>
              <a:off x="1783" y="2331"/>
              <a:ext cx="354" cy="268"/>
            </a:xfrm>
            <a:custGeom>
              <a:avLst/>
              <a:gdLst>
                <a:gd name="T0" fmla="*/ 0 w 1417"/>
                <a:gd name="T1" fmla="*/ 0 h 1070"/>
                <a:gd name="T2" fmla="*/ 0 w 1417"/>
                <a:gd name="T3" fmla="*/ 0 h 1070"/>
                <a:gd name="T4" fmla="*/ 0 w 1417"/>
                <a:gd name="T5" fmla="*/ 0 h 1070"/>
                <a:gd name="T6" fmla="*/ 0 w 1417"/>
                <a:gd name="T7" fmla="*/ 0 h 1070"/>
                <a:gd name="T8" fmla="*/ 0 w 1417"/>
                <a:gd name="T9" fmla="*/ 0 h 1070"/>
                <a:gd name="T10" fmla="*/ 0 w 1417"/>
                <a:gd name="T11" fmla="*/ 0 h 1070"/>
                <a:gd name="T12" fmla="*/ 0 w 1417"/>
                <a:gd name="T13" fmla="*/ 0 h 1070"/>
                <a:gd name="T14" fmla="*/ 0 w 1417"/>
                <a:gd name="T15" fmla="*/ 0 h 1070"/>
                <a:gd name="T16" fmla="*/ 0 w 1417"/>
                <a:gd name="T17" fmla="*/ 0 h 1070"/>
                <a:gd name="T18" fmla="*/ 0 w 1417"/>
                <a:gd name="T19" fmla="*/ 0 h 1070"/>
                <a:gd name="T20" fmla="*/ 0 w 1417"/>
                <a:gd name="T21" fmla="*/ 0 h 1070"/>
                <a:gd name="T22" fmla="*/ 0 w 1417"/>
                <a:gd name="T23" fmla="*/ 0 h 1070"/>
                <a:gd name="T24" fmla="*/ 0 w 1417"/>
                <a:gd name="T25" fmla="*/ 0 h 1070"/>
                <a:gd name="T26" fmla="*/ 0 w 1417"/>
                <a:gd name="T27" fmla="*/ 0 h 1070"/>
                <a:gd name="T28" fmla="*/ 0 w 1417"/>
                <a:gd name="T29" fmla="*/ 0 h 1070"/>
                <a:gd name="T30" fmla="*/ 0 w 1417"/>
                <a:gd name="T31" fmla="*/ 0 h 1070"/>
                <a:gd name="T32" fmla="*/ 0 w 1417"/>
                <a:gd name="T33" fmla="*/ 0 h 1070"/>
                <a:gd name="T34" fmla="*/ 0 w 1417"/>
                <a:gd name="T35" fmla="*/ 0 h 1070"/>
                <a:gd name="T36" fmla="*/ 0 w 1417"/>
                <a:gd name="T37" fmla="*/ 0 h 1070"/>
                <a:gd name="T38" fmla="*/ 0 w 1417"/>
                <a:gd name="T39" fmla="*/ 0 h 1070"/>
                <a:gd name="T40" fmla="*/ 0 w 1417"/>
                <a:gd name="T41" fmla="*/ 0 h 1070"/>
                <a:gd name="T42" fmla="*/ 0 w 1417"/>
                <a:gd name="T43" fmla="*/ 0 h 1070"/>
                <a:gd name="T44" fmla="*/ 0 w 1417"/>
                <a:gd name="T45" fmla="*/ 0 h 1070"/>
                <a:gd name="T46" fmla="*/ 0 w 1417"/>
                <a:gd name="T47" fmla="*/ 0 h 1070"/>
                <a:gd name="T48" fmla="*/ 0 w 1417"/>
                <a:gd name="T49" fmla="*/ 0 h 1070"/>
                <a:gd name="T50" fmla="*/ 0 w 1417"/>
                <a:gd name="T51" fmla="*/ 0 h 1070"/>
                <a:gd name="T52" fmla="*/ 0 w 1417"/>
                <a:gd name="T53" fmla="*/ 0 h 1070"/>
                <a:gd name="T54" fmla="*/ 0 w 1417"/>
                <a:gd name="T55" fmla="*/ 0 h 1070"/>
                <a:gd name="T56" fmla="*/ 0 w 1417"/>
                <a:gd name="T57" fmla="*/ 0 h 1070"/>
                <a:gd name="T58" fmla="*/ 0 w 1417"/>
                <a:gd name="T59" fmla="*/ 0 h 1070"/>
                <a:gd name="T60" fmla="*/ 0 w 1417"/>
                <a:gd name="T61" fmla="*/ 0 h 1070"/>
                <a:gd name="T62" fmla="*/ 0 w 1417"/>
                <a:gd name="T63" fmla="*/ 0 h 107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17"/>
                <a:gd name="T97" fmla="*/ 0 h 1070"/>
                <a:gd name="T98" fmla="*/ 1417 w 1417"/>
                <a:gd name="T99" fmla="*/ 1070 h 107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17" h="1070">
                  <a:moveTo>
                    <a:pt x="1153" y="350"/>
                  </a:moveTo>
                  <a:lnTo>
                    <a:pt x="1153" y="373"/>
                  </a:lnTo>
                  <a:lnTo>
                    <a:pt x="1163" y="393"/>
                  </a:lnTo>
                  <a:lnTo>
                    <a:pt x="1178" y="410"/>
                  </a:lnTo>
                  <a:lnTo>
                    <a:pt x="1198" y="426"/>
                  </a:lnTo>
                  <a:lnTo>
                    <a:pt x="1219" y="441"/>
                  </a:lnTo>
                  <a:lnTo>
                    <a:pt x="1239" y="459"/>
                  </a:lnTo>
                  <a:lnTo>
                    <a:pt x="1254" y="479"/>
                  </a:lnTo>
                  <a:lnTo>
                    <a:pt x="1264" y="503"/>
                  </a:lnTo>
                  <a:lnTo>
                    <a:pt x="1311" y="563"/>
                  </a:lnTo>
                  <a:lnTo>
                    <a:pt x="1348" y="628"/>
                  </a:lnTo>
                  <a:lnTo>
                    <a:pt x="1374" y="698"/>
                  </a:lnTo>
                  <a:lnTo>
                    <a:pt x="1393" y="773"/>
                  </a:lnTo>
                  <a:lnTo>
                    <a:pt x="1405" y="847"/>
                  </a:lnTo>
                  <a:lnTo>
                    <a:pt x="1412" y="922"/>
                  </a:lnTo>
                  <a:lnTo>
                    <a:pt x="1416" y="997"/>
                  </a:lnTo>
                  <a:lnTo>
                    <a:pt x="1417" y="1070"/>
                  </a:lnTo>
                  <a:lnTo>
                    <a:pt x="1378" y="1022"/>
                  </a:lnTo>
                  <a:lnTo>
                    <a:pt x="1344" y="973"/>
                  </a:lnTo>
                  <a:lnTo>
                    <a:pt x="1310" y="921"/>
                  </a:lnTo>
                  <a:lnTo>
                    <a:pt x="1277" y="870"/>
                  </a:lnTo>
                  <a:lnTo>
                    <a:pt x="1240" y="818"/>
                  </a:lnTo>
                  <a:lnTo>
                    <a:pt x="1201" y="770"/>
                  </a:lnTo>
                  <a:lnTo>
                    <a:pt x="1158" y="726"/>
                  </a:lnTo>
                  <a:lnTo>
                    <a:pt x="1111" y="685"/>
                  </a:lnTo>
                  <a:lnTo>
                    <a:pt x="1039" y="658"/>
                  </a:lnTo>
                  <a:lnTo>
                    <a:pt x="977" y="621"/>
                  </a:lnTo>
                  <a:lnTo>
                    <a:pt x="921" y="574"/>
                  </a:lnTo>
                  <a:lnTo>
                    <a:pt x="872" y="523"/>
                  </a:lnTo>
                  <a:lnTo>
                    <a:pt x="825" y="467"/>
                  </a:lnTo>
                  <a:lnTo>
                    <a:pt x="780" y="410"/>
                  </a:lnTo>
                  <a:lnTo>
                    <a:pt x="733" y="353"/>
                  </a:lnTo>
                  <a:lnTo>
                    <a:pt x="683" y="301"/>
                  </a:lnTo>
                  <a:lnTo>
                    <a:pt x="652" y="292"/>
                  </a:lnTo>
                  <a:lnTo>
                    <a:pt x="624" y="278"/>
                  </a:lnTo>
                  <a:lnTo>
                    <a:pt x="597" y="259"/>
                  </a:lnTo>
                  <a:lnTo>
                    <a:pt x="573" y="237"/>
                  </a:lnTo>
                  <a:lnTo>
                    <a:pt x="548" y="215"/>
                  </a:lnTo>
                  <a:lnTo>
                    <a:pt x="523" y="193"/>
                  </a:lnTo>
                  <a:lnTo>
                    <a:pt x="496" y="174"/>
                  </a:lnTo>
                  <a:lnTo>
                    <a:pt x="470" y="162"/>
                  </a:lnTo>
                  <a:lnTo>
                    <a:pt x="411" y="137"/>
                  </a:lnTo>
                  <a:lnTo>
                    <a:pt x="354" y="121"/>
                  </a:lnTo>
                  <a:lnTo>
                    <a:pt x="295" y="108"/>
                  </a:lnTo>
                  <a:lnTo>
                    <a:pt x="237" y="101"/>
                  </a:lnTo>
                  <a:lnTo>
                    <a:pt x="177" y="94"/>
                  </a:lnTo>
                  <a:lnTo>
                    <a:pt x="118" y="93"/>
                  </a:lnTo>
                  <a:lnTo>
                    <a:pt x="58" y="92"/>
                  </a:lnTo>
                  <a:lnTo>
                    <a:pt x="0" y="94"/>
                  </a:lnTo>
                  <a:lnTo>
                    <a:pt x="12" y="54"/>
                  </a:lnTo>
                  <a:lnTo>
                    <a:pt x="37" y="32"/>
                  </a:lnTo>
                  <a:lnTo>
                    <a:pt x="71" y="22"/>
                  </a:lnTo>
                  <a:lnTo>
                    <a:pt x="114" y="22"/>
                  </a:lnTo>
                  <a:lnTo>
                    <a:pt x="158" y="24"/>
                  </a:lnTo>
                  <a:lnTo>
                    <a:pt x="203" y="25"/>
                  </a:lnTo>
                  <a:lnTo>
                    <a:pt x="244" y="21"/>
                  </a:lnTo>
                  <a:lnTo>
                    <a:pt x="281" y="8"/>
                  </a:lnTo>
                  <a:lnTo>
                    <a:pt x="401" y="0"/>
                  </a:lnTo>
                  <a:lnTo>
                    <a:pt x="519" y="11"/>
                  </a:lnTo>
                  <a:lnTo>
                    <a:pt x="634" y="36"/>
                  </a:lnTo>
                  <a:lnTo>
                    <a:pt x="747" y="77"/>
                  </a:lnTo>
                  <a:lnTo>
                    <a:pt x="854" y="129"/>
                  </a:lnTo>
                  <a:lnTo>
                    <a:pt x="959" y="193"/>
                  </a:lnTo>
                  <a:lnTo>
                    <a:pt x="1058" y="267"/>
                  </a:lnTo>
                  <a:lnTo>
                    <a:pt x="1153" y="350"/>
                  </a:lnTo>
                  <a:close/>
                </a:path>
              </a:pathLst>
            </a:custGeom>
            <a:solidFill>
              <a:srgbClr val="FF80BF"/>
            </a:solidFill>
            <a:ln w="9525">
              <a:noFill/>
              <a:round/>
              <a:headEnd/>
              <a:tailEnd/>
            </a:ln>
          </p:spPr>
          <p:txBody>
            <a:bodyPr/>
            <a:lstStyle/>
            <a:p>
              <a:pPr>
                <a:defRPr/>
              </a:pPr>
              <a:endParaRPr lang="en-US" dirty="0">
                <a:cs typeface="+mn-cs"/>
              </a:endParaRPr>
            </a:p>
          </p:txBody>
        </p:sp>
        <p:sp>
          <p:nvSpPr>
            <p:cNvPr id="86" name="Freeform 1076"/>
            <p:cNvSpPr>
              <a:spLocks/>
            </p:cNvSpPr>
            <p:nvPr/>
          </p:nvSpPr>
          <p:spPr bwMode="auto">
            <a:xfrm>
              <a:off x="1566" y="2372"/>
              <a:ext cx="551" cy="566"/>
            </a:xfrm>
            <a:custGeom>
              <a:avLst/>
              <a:gdLst>
                <a:gd name="T0" fmla="*/ 0 w 2205"/>
                <a:gd name="T1" fmla="*/ 0 h 2264"/>
                <a:gd name="T2" fmla="*/ 0 w 2205"/>
                <a:gd name="T3" fmla="*/ 0 h 2264"/>
                <a:gd name="T4" fmla="*/ 0 w 2205"/>
                <a:gd name="T5" fmla="*/ 0 h 2264"/>
                <a:gd name="T6" fmla="*/ 0 w 2205"/>
                <a:gd name="T7" fmla="*/ 0 h 2264"/>
                <a:gd name="T8" fmla="*/ 0 w 2205"/>
                <a:gd name="T9" fmla="*/ 0 h 2264"/>
                <a:gd name="T10" fmla="*/ 0 w 2205"/>
                <a:gd name="T11" fmla="*/ 0 h 2264"/>
                <a:gd name="T12" fmla="*/ 0 w 2205"/>
                <a:gd name="T13" fmla="*/ 0 h 2264"/>
                <a:gd name="T14" fmla="*/ 0 w 2205"/>
                <a:gd name="T15" fmla="*/ 0 h 2264"/>
                <a:gd name="T16" fmla="*/ 0 w 2205"/>
                <a:gd name="T17" fmla="*/ 0 h 2264"/>
                <a:gd name="T18" fmla="*/ 0 w 2205"/>
                <a:gd name="T19" fmla="*/ 0 h 2264"/>
                <a:gd name="T20" fmla="*/ 0 w 2205"/>
                <a:gd name="T21" fmla="*/ 0 h 2264"/>
                <a:gd name="T22" fmla="*/ 0 w 2205"/>
                <a:gd name="T23" fmla="*/ 0 h 2264"/>
                <a:gd name="T24" fmla="*/ 0 w 2205"/>
                <a:gd name="T25" fmla="*/ 0 h 2264"/>
                <a:gd name="T26" fmla="*/ 0 w 2205"/>
                <a:gd name="T27" fmla="*/ 0 h 2264"/>
                <a:gd name="T28" fmla="*/ 0 w 2205"/>
                <a:gd name="T29" fmla="*/ 0 h 2264"/>
                <a:gd name="T30" fmla="*/ 0 w 2205"/>
                <a:gd name="T31" fmla="*/ 0 h 2264"/>
                <a:gd name="T32" fmla="*/ 0 w 2205"/>
                <a:gd name="T33" fmla="*/ 0 h 2264"/>
                <a:gd name="T34" fmla="*/ 0 w 2205"/>
                <a:gd name="T35" fmla="*/ 0 h 2264"/>
                <a:gd name="T36" fmla="*/ 0 w 2205"/>
                <a:gd name="T37" fmla="*/ 0 h 2264"/>
                <a:gd name="T38" fmla="*/ 0 w 2205"/>
                <a:gd name="T39" fmla="*/ 0 h 2264"/>
                <a:gd name="T40" fmla="*/ 0 w 2205"/>
                <a:gd name="T41" fmla="*/ 0 h 2264"/>
                <a:gd name="T42" fmla="*/ 0 w 2205"/>
                <a:gd name="T43" fmla="*/ 0 h 2264"/>
                <a:gd name="T44" fmla="*/ 0 w 2205"/>
                <a:gd name="T45" fmla="*/ 0 h 2264"/>
                <a:gd name="T46" fmla="*/ 0 w 2205"/>
                <a:gd name="T47" fmla="*/ 0 h 2264"/>
                <a:gd name="T48" fmla="*/ 0 w 2205"/>
                <a:gd name="T49" fmla="*/ 0 h 2264"/>
                <a:gd name="T50" fmla="*/ 0 w 2205"/>
                <a:gd name="T51" fmla="*/ 0 h 2264"/>
                <a:gd name="T52" fmla="*/ 0 w 2205"/>
                <a:gd name="T53" fmla="*/ 0 h 2264"/>
                <a:gd name="T54" fmla="*/ 0 w 2205"/>
                <a:gd name="T55" fmla="*/ 0 h 2264"/>
                <a:gd name="T56" fmla="*/ 0 w 2205"/>
                <a:gd name="T57" fmla="*/ 0 h 2264"/>
                <a:gd name="T58" fmla="*/ 0 w 2205"/>
                <a:gd name="T59" fmla="*/ 0 h 2264"/>
                <a:gd name="T60" fmla="*/ 0 w 2205"/>
                <a:gd name="T61" fmla="*/ 0 h 2264"/>
                <a:gd name="T62" fmla="*/ 0 w 2205"/>
                <a:gd name="T63" fmla="*/ 0 h 2264"/>
                <a:gd name="T64" fmla="*/ 0 w 2205"/>
                <a:gd name="T65" fmla="*/ 0 h 2264"/>
                <a:gd name="T66" fmla="*/ 0 w 2205"/>
                <a:gd name="T67" fmla="*/ 0 h 2264"/>
                <a:gd name="T68" fmla="*/ 0 w 2205"/>
                <a:gd name="T69" fmla="*/ 0 h 2264"/>
                <a:gd name="T70" fmla="*/ 0 w 2205"/>
                <a:gd name="T71" fmla="*/ 0 h 2264"/>
                <a:gd name="T72" fmla="*/ 0 w 2205"/>
                <a:gd name="T73" fmla="*/ 0 h 226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205"/>
                <a:gd name="T112" fmla="*/ 0 h 2264"/>
                <a:gd name="T113" fmla="*/ 2205 w 2205"/>
                <a:gd name="T114" fmla="*/ 2264 h 226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205" h="2264">
                  <a:moveTo>
                    <a:pt x="1466" y="181"/>
                  </a:moveTo>
                  <a:lnTo>
                    <a:pt x="1514" y="214"/>
                  </a:lnTo>
                  <a:lnTo>
                    <a:pt x="1557" y="252"/>
                  </a:lnTo>
                  <a:lnTo>
                    <a:pt x="1593" y="292"/>
                  </a:lnTo>
                  <a:lnTo>
                    <a:pt x="1629" y="338"/>
                  </a:lnTo>
                  <a:lnTo>
                    <a:pt x="1662" y="381"/>
                  </a:lnTo>
                  <a:lnTo>
                    <a:pt x="1696" y="426"/>
                  </a:lnTo>
                  <a:lnTo>
                    <a:pt x="1731" y="469"/>
                  </a:lnTo>
                  <a:lnTo>
                    <a:pt x="1771" y="511"/>
                  </a:lnTo>
                  <a:lnTo>
                    <a:pt x="1845" y="565"/>
                  </a:lnTo>
                  <a:lnTo>
                    <a:pt x="1925" y="625"/>
                  </a:lnTo>
                  <a:lnTo>
                    <a:pt x="2005" y="687"/>
                  </a:lnTo>
                  <a:lnTo>
                    <a:pt x="2078" y="755"/>
                  </a:lnTo>
                  <a:lnTo>
                    <a:pt x="2139" y="829"/>
                  </a:lnTo>
                  <a:lnTo>
                    <a:pt x="2183" y="911"/>
                  </a:lnTo>
                  <a:lnTo>
                    <a:pt x="2205" y="1001"/>
                  </a:lnTo>
                  <a:lnTo>
                    <a:pt x="2198" y="1102"/>
                  </a:lnTo>
                  <a:lnTo>
                    <a:pt x="2193" y="1150"/>
                  </a:lnTo>
                  <a:lnTo>
                    <a:pt x="2196" y="1203"/>
                  </a:lnTo>
                  <a:lnTo>
                    <a:pt x="2198" y="1256"/>
                  </a:lnTo>
                  <a:lnTo>
                    <a:pt x="2201" y="1311"/>
                  </a:lnTo>
                  <a:lnTo>
                    <a:pt x="2198" y="1364"/>
                  </a:lnTo>
                  <a:lnTo>
                    <a:pt x="2192" y="1418"/>
                  </a:lnTo>
                  <a:lnTo>
                    <a:pt x="2175" y="1470"/>
                  </a:lnTo>
                  <a:lnTo>
                    <a:pt x="2149" y="1522"/>
                  </a:lnTo>
                  <a:lnTo>
                    <a:pt x="2106" y="1625"/>
                  </a:lnTo>
                  <a:lnTo>
                    <a:pt x="2053" y="1727"/>
                  </a:lnTo>
                  <a:lnTo>
                    <a:pt x="1988" y="1823"/>
                  </a:lnTo>
                  <a:lnTo>
                    <a:pt x="1914" y="1916"/>
                  </a:lnTo>
                  <a:lnTo>
                    <a:pt x="1829" y="1997"/>
                  </a:lnTo>
                  <a:lnTo>
                    <a:pt x="1736" y="2068"/>
                  </a:lnTo>
                  <a:lnTo>
                    <a:pt x="1638" y="2126"/>
                  </a:lnTo>
                  <a:lnTo>
                    <a:pt x="1533" y="2170"/>
                  </a:lnTo>
                  <a:lnTo>
                    <a:pt x="1425" y="2223"/>
                  </a:lnTo>
                  <a:lnTo>
                    <a:pt x="1316" y="2254"/>
                  </a:lnTo>
                  <a:lnTo>
                    <a:pt x="1205" y="2264"/>
                  </a:lnTo>
                  <a:lnTo>
                    <a:pt x="1094" y="2260"/>
                  </a:lnTo>
                  <a:lnTo>
                    <a:pt x="978" y="2243"/>
                  </a:lnTo>
                  <a:lnTo>
                    <a:pt x="865" y="2224"/>
                  </a:lnTo>
                  <a:lnTo>
                    <a:pt x="749" y="2204"/>
                  </a:lnTo>
                  <a:lnTo>
                    <a:pt x="636" y="2188"/>
                  </a:lnTo>
                  <a:lnTo>
                    <a:pt x="537" y="2122"/>
                  </a:lnTo>
                  <a:lnTo>
                    <a:pt x="445" y="2045"/>
                  </a:lnTo>
                  <a:lnTo>
                    <a:pt x="356" y="1959"/>
                  </a:lnTo>
                  <a:lnTo>
                    <a:pt x="276" y="1865"/>
                  </a:lnTo>
                  <a:lnTo>
                    <a:pt x="202" y="1765"/>
                  </a:lnTo>
                  <a:lnTo>
                    <a:pt x="136" y="1661"/>
                  </a:lnTo>
                  <a:lnTo>
                    <a:pt x="79" y="1556"/>
                  </a:lnTo>
                  <a:lnTo>
                    <a:pt x="31" y="1451"/>
                  </a:lnTo>
                  <a:lnTo>
                    <a:pt x="8" y="1303"/>
                  </a:lnTo>
                  <a:lnTo>
                    <a:pt x="0" y="1155"/>
                  </a:lnTo>
                  <a:lnTo>
                    <a:pt x="6" y="1008"/>
                  </a:lnTo>
                  <a:lnTo>
                    <a:pt x="25" y="864"/>
                  </a:lnTo>
                  <a:lnTo>
                    <a:pt x="56" y="721"/>
                  </a:lnTo>
                  <a:lnTo>
                    <a:pt x="102" y="584"/>
                  </a:lnTo>
                  <a:lnTo>
                    <a:pt x="160" y="452"/>
                  </a:lnTo>
                  <a:lnTo>
                    <a:pt x="233" y="326"/>
                  </a:lnTo>
                  <a:lnTo>
                    <a:pt x="260" y="293"/>
                  </a:lnTo>
                  <a:lnTo>
                    <a:pt x="289" y="263"/>
                  </a:lnTo>
                  <a:lnTo>
                    <a:pt x="317" y="231"/>
                  </a:lnTo>
                  <a:lnTo>
                    <a:pt x="346" y="201"/>
                  </a:lnTo>
                  <a:lnTo>
                    <a:pt x="374" y="168"/>
                  </a:lnTo>
                  <a:lnTo>
                    <a:pt x="402" y="136"/>
                  </a:lnTo>
                  <a:lnTo>
                    <a:pt x="429" y="104"/>
                  </a:lnTo>
                  <a:lnTo>
                    <a:pt x="457" y="71"/>
                  </a:lnTo>
                  <a:lnTo>
                    <a:pt x="548" y="28"/>
                  </a:lnTo>
                  <a:lnTo>
                    <a:pt x="644" y="6"/>
                  </a:lnTo>
                  <a:lnTo>
                    <a:pt x="743" y="0"/>
                  </a:lnTo>
                  <a:lnTo>
                    <a:pt x="846" y="7"/>
                  </a:lnTo>
                  <a:lnTo>
                    <a:pt x="948" y="20"/>
                  </a:lnTo>
                  <a:lnTo>
                    <a:pt x="1051" y="37"/>
                  </a:lnTo>
                  <a:lnTo>
                    <a:pt x="1152" y="50"/>
                  </a:lnTo>
                  <a:lnTo>
                    <a:pt x="1252" y="59"/>
                  </a:lnTo>
                  <a:lnTo>
                    <a:pt x="1466" y="181"/>
                  </a:lnTo>
                  <a:close/>
                </a:path>
              </a:pathLst>
            </a:custGeom>
            <a:solidFill>
              <a:srgbClr val="FFFF80"/>
            </a:solidFill>
            <a:ln w="9525">
              <a:noFill/>
              <a:round/>
              <a:headEnd/>
              <a:tailEnd/>
            </a:ln>
          </p:spPr>
          <p:txBody>
            <a:bodyPr/>
            <a:lstStyle/>
            <a:p>
              <a:pPr>
                <a:defRPr/>
              </a:pPr>
              <a:endParaRPr lang="en-US" dirty="0">
                <a:cs typeface="+mn-cs"/>
              </a:endParaRPr>
            </a:p>
          </p:txBody>
        </p:sp>
        <p:sp>
          <p:nvSpPr>
            <p:cNvPr id="87" name="Freeform 1077"/>
            <p:cNvSpPr>
              <a:spLocks/>
            </p:cNvSpPr>
            <p:nvPr/>
          </p:nvSpPr>
          <p:spPr bwMode="auto">
            <a:xfrm>
              <a:off x="1586" y="2392"/>
              <a:ext cx="511" cy="526"/>
            </a:xfrm>
            <a:custGeom>
              <a:avLst/>
              <a:gdLst>
                <a:gd name="T0" fmla="*/ 0 w 2046"/>
                <a:gd name="T1" fmla="*/ 0 h 2103"/>
                <a:gd name="T2" fmla="*/ 0 w 2046"/>
                <a:gd name="T3" fmla="*/ 0 h 2103"/>
                <a:gd name="T4" fmla="*/ 0 w 2046"/>
                <a:gd name="T5" fmla="*/ 0 h 2103"/>
                <a:gd name="T6" fmla="*/ 0 w 2046"/>
                <a:gd name="T7" fmla="*/ 0 h 2103"/>
                <a:gd name="T8" fmla="*/ 0 w 2046"/>
                <a:gd name="T9" fmla="*/ 0 h 2103"/>
                <a:gd name="T10" fmla="*/ 0 w 2046"/>
                <a:gd name="T11" fmla="*/ 0 h 2103"/>
                <a:gd name="T12" fmla="*/ 0 w 2046"/>
                <a:gd name="T13" fmla="*/ 0 h 2103"/>
                <a:gd name="T14" fmla="*/ 0 w 2046"/>
                <a:gd name="T15" fmla="*/ 0 h 2103"/>
                <a:gd name="T16" fmla="*/ 0 w 2046"/>
                <a:gd name="T17" fmla="*/ 0 h 2103"/>
                <a:gd name="T18" fmla="*/ 0 w 2046"/>
                <a:gd name="T19" fmla="*/ 0 h 2103"/>
                <a:gd name="T20" fmla="*/ 0 w 2046"/>
                <a:gd name="T21" fmla="*/ 0 h 2103"/>
                <a:gd name="T22" fmla="*/ 0 w 2046"/>
                <a:gd name="T23" fmla="*/ 0 h 2103"/>
                <a:gd name="T24" fmla="*/ 0 w 2046"/>
                <a:gd name="T25" fmla="*/ 0 h 2103"/>
                <a:gd name="T26" fmla="*/ 0 w 2046"/>
                <a:gd name="T27" fmla="*/ 0 h 2103"/>
                <a:gd name="T28" fmla="*/ 0 w 2046"/>
                <a:gd name="T29" fmla="*/ 0 h 2103"/>
                <a:gd name="T30" fmla="*/ 0 w 2046"/>
                <a:gd name="T31" fmla="*/ 0 h 2103"/>
                <a:gd name="T32" fmla="*/ 0 w 2046"/>
                <a:gd name="T33" fmla="*/ 0 h 2103"/>
                <a:gd name="T34" fmla="*/ 0 w 2046"/>
                <a:gd name="T35" fmla="*/ 0 h 2103"/>
                <a:gd name="T36" fmla="*/ 0 w 2046"/>
                <a:gd name="T37" fmla="*/ 0 h 2103"/>
                <a:gd name="T38" fmla="*/ 0 w 2046"/>
                <a:gd name="T39" fmla="*/ 0 h 2103"/>
                <a:gd name="T40" fmla="*/ 0 w 2046"/>
                <a:gd name="T41" fmla="*/ 0 h 2103"/>
                <a:gd name="T42" fmla="*/ 0 w 2046"/>
                <a:gd name="T43" fmla="*/ 0 h 2103"/>
                <a:gd name="T44" fmla="*/ 0 w 2046"/>
                <a:gd name="T45" fmla="*/ 0 h 2103"/>
                <a:gd name="T46" fmla="*/ 0 w 2046"/>
                <a:gd name="T47" fmla="*/ 0 h 2103"/>
                <a:gd name="T48" fmla="*/ 0 w 2046"/>
                <a:gd name="T49" fmla="*/ 0 h 2103"/>
                <a:gd name="T50" fmla="*/ 0 w 2046"/>
                <a:gd name="T51" fmla="*/ 0 h 2103"/>
                <a:gd name="T52" fmla="*/ 0 w 2046"/>
                <a:gd name="T53" fmla="*/ 0 h 2103"/>
                <a:gd name="T54" fmla="*/ 0 w 2046"/>
                <a:gd name="T55" fmla="*/ 0 h 2103"/>
                <a:gd name="T56" fmla="*/ 0 w 2046"/>
                <a:gd name="T57" fmla="*/ 0 h 2103"/>
                <a:gd name="T58" fmla="*/ 0 w 2046"/>
                <a:gd name="T59" fmla="*/ 0 h 2103"/>
                <a:gd name="T60" fmla="*/ 0 w 2046"/>
                <a:gd name="T61" fmla="*/ 0 h 2103"/>
                <a:gd name="T62" fmla="*/ 0 w 2046"/>
                <a:gd name="T63" fmla="*/ 0 h 2103"/>
                <a:gd name="T64" fmla="*/ 0 w 2046"/>
                <a:gd name="T65" fmla="*/ 0 h 2103"/>
                <a:gd name="T66" fmla="*/ 0 w 2046"/>
                <a:gd name="T67" fmla="*/ 0 h 2103"/>
                <a:gd name="T68" fmla="*/ 0 w 2046"/>
                <a:gd name="T69" fmla="*/ 0 h 2103"/>
                <a:gd name="T70" fmla="*/ 0 w 2046"/>
                <a:gd name="T71" fmla="*/ 0 h 2103"/>
                <a:gd name="T72" fmla="*/ 0 w 2046"/>
                <a:gd name="T73" fmla="*/ 0 h 21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46"/>
                <a:gd name="T112" fmla="*/ 0 h 2103"/>
                <a:gd name="T113" fmla="*/ 2046 w 2046"/>
                <a:gd name="T114" fmla="*/ 2103 h 210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46" h="2103">
                  <a:moveTo>
                    <a:pt x="1360" y="168"/>
                  </a:moveTo>
                  <a:lnTo>
                    <a:pt x="1406" y="198"/>
                  </a:lnTo>
                  <a:lnTo>
                    <a:pt x="1445" y="235"/>
                  </a:lnTo>
                  <a:lnTo>
                    <a:pt x="1480" y="272"/>
                  </a:lnTo>
                  <a:lnTo>
                    <a:pt x="1513" y="314"/>
                  </a:lnTo>
                  <a:lnTo>
                    <a:pt x="1543" y="354"/>
                  </a:lnTo>
                  <a:lnTo>
                    <a:pt x="1575" y="396"/>
                  </a:lnTo>
                  <a:lnTo>
                    <a:pt x="1607" y="435"/>
                  </a:lnTo>
                  <a:lnTo>
                    <a:pt x="1645" y="476"/>
                  </a:lnTo>
                  <a:lnTo>
                    <a:pt x="1713" y="526"/>
                  </a:lnTo>
                  <a:lnTo>
                    <a:pt x="1788" y="581"/>
                  </a:lnTo>
                  <a:lnTo>
                    <a:pt x="1860" y="639"/>
                  </a:lnTo>
                  <a:lnTo>
                    <a:pt x="1928" y="702"/>
                  </a:lnTo>
                  <a:lnTo>
                    <a:pt x="1984" y="770"/>
                  </a:lnTo>
                  <a:lnTo>
                    <a:pt x="2026" y="846"/>
                  </a:lnTo>
                  <a:lnTo>
                    <a:pt x="2046" y="930"/>
                  </a:lnTo>
                  <a:lnTo>
                    <a:pt x="2041" y="1024"/>
                  </a:lnTo>
                  <a:lnTo>
                    <a:pt x="2036" y="1068"/>
                  </a:lnTo>
                  <a:lnTo>
                    <a:pt x="2038" y="1117"/>
                  </a:lnTo>
                  <a:lnTo>
                    <a:pt x="2041" y="1167"/>
                  </a:lnTo>
                  <a:lnTo>
                    <a:pt x="2043" y="1217"/>
                  </a:lnTo>
                  <a:lnTo>
                    <a:pt x="2041" y="1266"/>
                  </a:lnTo>
                  <a:lnTo>
                    <a:pt x="2034" y="1317"/>
                  </a:lnTo>
                  <a:lnTo>
                    <a:pt x="2019" y="1365"/>
                  </a:lnTo>
                  <a:lnTo>
                    <a:pt x="1995" y="1413"/>
                  </a:lnTo>
                  <a:lnTo>
                    <a:pt x="1956" y="1509"/>
                  </a:lnTo>
                  <a:lnTo>
                    <a:pt x="1907" y="1603"/>
                  </a:lnTo>
                  <a:lnTo>
                    <a:pt x="1845" y="1693"/>
                  </a:lnTo>
                  <a:lnTo>
                    <a:pt x="1776" y="1778"/>
                  </a:lnTo>
                  <a:lnTo>
                    <a:pt x="1698" y="1852"/>
                  </a:lnTo>
                  <a:lnTo>
                    <a:pt x="1612" y="1919"/>
                  </a:lnTo>
                  <a:lnTo>
                    <a:pt x="1519" y="1974"/>
                  </a:lnTo>
                  <a:lnTo>
                    <a:pt x="1423" y="2014"/>
                  </a:lnTo>
                  <a:lnTo>
                    <a:pt x="1323" y="2064"/>
                  </a:lnTo>
                  <a:lnTo>
                    <a:pt x="1222" y="2093"/>
                  </a:lnTo>
                  <a:lnTo>
                    <a:pt x="1118" y="2103"/>
                  </a:lnTo>
                  <a:lnTo>
                    <a:pt x="1015" y="2099"/>
                  </a:lnTo>
                  <a:lnTo>
                    <a:pt x="908" y="2085"/>
                  </a:lnTo>
                  <a:lnTo>
                    <a:pt x="802" y="2066"/>
                  </a:lnTo>
                  <a:lnTo>
                    <a:pt x="696" y="2047"/>
                  </a:lnTo>
                  <a:lnTo>
                    <a:pt x="590" y="2032"/>
                  </a:lnTo>
                  <a:lnTo>
                    <a:pt x="498" y="1970"/>
                  </a:lnTo>
                  <a:lnTo>
                    <a:pt x="411" y="1899"/>
                  </a:lnTo>
                  <a:lnTo>
                    <a:pt x="330" y="1818"/>
                  </a:lnTo>
                  <a:lnTo>
                    <a:pt x="255" y="1732"/>
                  </a:lnTo>
                  <a:lnTo>
                    <a:pt x="187" y="1639"/>
                  </a:lnTo>
                  <a:lnTo>
                    <a:pt x="126" y="1544"/>
                  </a:lnTo>
                  <a:lnTo>
                    <a:pt x="72" y="1445"/>
                  </a:lnTo>
                  <a:lnTo>
                    <a:pt x="28" y="1347"/>
                  </a:lnTo>
                  <a:lnTo>
                    <a:pt x="6" y="1210"/>
                  </a:lnTo>
                  <a:lnTo>
                    <a:pt x="0" y="1073"/>
                  </a:lnTo>
                  <a:lnTo>
                    <a:pt x="4" y="936"/>
                  </a:lnTo>
                  <a:lnTo>
                    <a:pt x="23" y="802"/>
                  </a:lnTo>
                  <a:lnTo>
                    <a:pt x="52" y="670"/>
                  </a:lnTo>
                  <a:lnTo>
                    <a:pt x="95" y="543"/>
                  </a:lnTo>
                  <a:lnTo>
                    <a:pt x="148" y="420"/>
                  </a:lnTo>
                  <a:lnTo>
                    <a:pt x="216" y="303"/>
                  </a:lnTo>
                  <a:lnTo>
                    <a:pt x="242" y="273"/>
                  </a:lnTo>
                  <a:lnTo>
                    <a:pt x="268" y="244"/>
                  </a:lnTo>
                  <a:lnTo>
                    <a:pt x="295" y="214"/>
                  </a:lnTo>
                  <a:lnTo>
                    <a:pt x="321" y="186"/>
                  </a:lnTo>
                  <a:lnTo>
                    <a:pt x="347" y="157"/>
                  </a:lnTo>
                  <a:lnTo>
                    <a:pt x="373" y="128"/>
                  </a:lnTo>
                  <a:lnTo>
                    <a:pt x="398" y="96"/>
                  </a:lnTo>
                  <a:lnTo>
                    <a:pt x="425" y="66"/>
                  </a:lnTo>
                  <a:lnTo>
                    <a:pt x="509" y="25"/>
                  </a:lnTo>
                  <a:lnTo>
                    <a:pt x="598" y="5"/>
                  </a:lnTo>
                  <a:lnTo>
                    <a:pt x="691" y="0"/>
                  </a:lnTo>
                  <a:lnTo>
                    <a:pt x="786" y="6"/>
                  </a:lnTo>
                  <a:lnTo>
                    <a:pt x="881" y="18"/>
                  </a:lnTo>
                  <a:lnTo>
                    <a:pt x="975" y="33"/>
                  </a:lnTo>
                  <a:lnTo>
                    <a:pt x="1069" y="47"/>
                  </a:lnTo>
                  <a:lnTo>
                    <a:pt x="1161" y="55"/>
                  </a:lnTo>
                  <a:lnTo>
                    <a:pt x="1360" y="168"/>
                  </a:lnTo>
                  <a:close/>
                </a:path>
              </a:pathLst>
            </a:custGeom>
            <a:solidFill>
              <a:srgbClr val="FFFF89"/>
            </a:solidFill>
            <a:ln w="9525">
              <a:noFill/>
              <a:round/>
              <a:headEnd/>
              <a:tailEnd/>
            </a:ln>
          </p:spPr>
          <p:txBody>
            <a:bodyPr/>
            <a:lstStyle/>
            <a:p>
              <a:pPr>
                <a:defRPr/>
              </a:pPr>
              <a:endParaRPr lang="en-US" dirty="0">
                <a:cs typeface="+mn-cs"/>
              </a:endParaRPr>
            </a:p>
          </p:txBody>
        </p:sp>
        <p:sp>
          <p:nvSpPr>
            <p:cNvPr id="88" name="Freeform 1078"/>
            <p:cNvSpPr>
              <a:spLocks/>
            </p:cNvSpPr>
            <p:nvPr/>
          </p:nvSpPr>
          <p:spPr bwMode="auto">
            <a:xfrm>
              <a:off x="1606" y="2412"/>
              <a:ext cx="472" cy="485"/>
            </a:xfrm>
            <a:custGeom>
              <a:avLst/>
              <a:gdLst>
                <a:gd name="T0" fmla="*/ 0 w 1889"/>
                <a:gd name="T1" fmla="*/ 0 h 1940"/>
                <a:gd name="T2" fmla="*/ 0 w 1889"/>
                <a:gd name="T3" fmla="*/ 0 h 1940"/>
                <a:gd name="T4" fmla="*/ 0 w 1889"/>
                <a:gd name="T5" fmla="*/ 0 h 1940"/>
                <a:gd name="T6" fmla="*/ 0 w 1889"/>
                <a:gd name="T7" fmla="*/ 0 h 1940"/>
                <a:gd name="T8" fmla="*/ 0 w 1889"/>
                <a:gd name="T9" fmla="*/ 0 h 1940"/>
                <a:gd name="T10" fmla="*/ 0 w 1889"/>
                <a:gd name="T11" fmla="*/ 0 h 1940"/>
                <a:gd name="T12" fmla="*/ 0 w 1889"/>
                <a:gd name="T13" fmla="*/ 0 h 1940"/>
                <a:gd name="T14" fmla="*/ 0 w 1889"/>
                <a:gd name="T15" fmla="*/ 0 h 1940"/>
                <a:gd name="T16" fmla="*/ 0 w 1889"/>
                <a:gd name="T17" fmla="*/ 0 h 1940"/>
                <a:gd name="T18" fmla="*/ 0 w 1889"/>
                <a:gd name="T19" fmla="*/ 0 h 1940"/>
                <a:gd name="T20" fmla="*/ 0 w 1889"/>
                <a:gd name="T21" fmla="*/ 0 h 1940"/>
                <a:gd name="T22" fmla="*/ 0 w 1889"/>
                <a:gd name="T23" fmla="*/ 0 h 1940"/>
                <a:gd name="T24" fmla="*/ 0 w 1889"/>
                <a:gd name="T25" fmla="*/ 0 h 1940"/>
                <a:gd name="T26" fmla="*/ 0 w 1889"/>
                <a:gd name="T27" fmla="*/ 0 h 1940"/>
                <a:gd name="T28" fmla="*/ 0 w 1889"/>
                <a:gd name="T29" fmla="*/ 0 h 1940"/>
                <a:gd name="T30" fmla="*/ 0 w 1889"/>
                <a:gd name="T31" fmla="*/ 0 h 1940"/>
                <a:gd name="T32" fmla="*/ 0 w 1889"/>
                <a:gd name="T33" fmla="*/ 0 h 1940"/>
                <a:gd name="T34" fmla="*/ 0 w 1889"/>
                <a:gd name="T35" fmla="*/ 0 h 1940"/>
                <a:gd name="T36" fmla="*/ 0 w 1889"/>
                <a:gd name="T37" fmla="*/ 0 h 1940"/>
                <a:gd name="T38" fmla="*/ 0 w 1889"/>
                <a:gd name="T39" fmla="*/ 0 h 1940"/>
                <a:gd name="T40" fmla="*/ 0 w 1889"/>
                <a:gd name="T41" fmla="*/ 0 h 1940"/>
                <a:gd name="T42" fmla="*/ 0 w 1889"/>
                <a:gd name="T43" fmla="*/ 0 h 1940"/>
                <a:gd name="T44" fmla="*/ 0 w 1889"/>
                <a:gd name="T45" fmla="*/ 0 h 1940"/>
                <a:gd name="T46" fmla="*/ 0 w 1889"/>
                <a:gd name="T47" fmla="*/ 0 h 1940"/>
                <a:gd name="T48" fmla="*/ 0 w 1889"/>
                <a:gd name="T49" fmla="*/ 0 h 1940"/>
                <a:gd name="T50" fmla="*/ 0 w 1889"/>
                <a:gd name="T51" fmla="*/ 0 h 1940"/>
                <a:gd name="T52" fmla="*/ 0 w 1889"/>
                <a:gd name="T53" fmla="*/ 0 h 1940"/>
                <a:gd name="T54" fmla="*/ 0 w 1889"/>
                <a:gd name="T55" fmla="*/ 0 h 1940"/>
                <a:gd name="T56" fmla="*/ 0 w 1889"/>
                <a:gd name="T57" fmla="*/ 0 h 1940"/>
                <a:gd name="T58" fmla="*/ 0 w 1889"/>
                <a:gd name="T59" fmla="*/ 0 h 1940"/>
                <a:gd name="T60" fmla="*/ 0 w 1889"/>
                <a:gd name="T61" fmla="*/ 0 h 1940"/>
                <a:gd name="T62" fmla="*/ 0 w 1889"/>
                <a:gd name="T63" fmla="*/ 0 h 1940"/>
                <a:gd name="T64" fmla="*/ 0 w 1889"/>
                <a:gd name="T65" fmla="*/ 0 h 1940"/>
                <a:gd name="T66" fmla="*/ 0 w 1889"/>
                <a:gd name="T67" fmla="*/ 0 h 1940"/>
                <a:gd name="T68" fmla="*/ 0 w 1889"/>
                <a:gd name="T69" fmla="*/ 0 h 1940"/>
                <a:gd name="T70" fmla="*/ 0 w 1889"/>
                <a:gd name="T71" fmla="*/ 0 h 1940"/>
                <a:gd name="T72" fmla="*/ 0 w 1889"/>
                <a:gd name="T73" fmla="*/ 0 h 194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89"/>
                <a:gd name="T112" fmla="*/ 0 h 1940"/>
                <a:gd name="T113" fmla="*/ 1889 w 1889"/>
                <a:gd name="T114" fmla="*/ 1940 h 194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89" h="1940">
                  <a:moveTo>
                    <a:pt x="1255" y="154"/>
                  </a:moveTo>
                  <a:lnTo>
                    <a:pt x="1297" y="183"/>
                  </a:lnTo>
                  <a:lnTo>
                    <a:pt x="1334" y="216"/>
                  </a:lnTo>
                  <a:lnTo>
                    <a:pt x="1366" y="250"/>
                  </a:lnTo>
                  <a:lnTo>
                    <a:pt x="1397" y="288"/>
                  </a:lnTo>
                  <a:lnTo>
                    <a:pt x="1425" y="326"/>
                  </a:lnTo>
                  <a:lnTo>
                    <a:pt x="1454" y="364"/>
                  </a:lnTo>
                  <a:lnTo>
                    <a:pt x="1484" y="401"/>
                  </a:lnTo>
                  <a:lnTo>
                    <a:pt x="1519" y="439"/>
                  </a:lnTo>
                  <a:lnTo>
                    <a:pt x="1582" y="484"/>
                  </a:lnTo>
                  <a:lnTo>
                    <a:pt x="1650" y="535"/>
                  </a:lnTo>
                  <a:lnTo>
                    <a:pt x="1717" y="589"/>
                  </a:lnTo>
                  <a:lnTo>
                    <a:pt x="1781" y="648"/>
                  </a:lnTo>
                  <a:lnTo>
                    <a:pt x="1832" y="710"/>
                  </a:lnTo>
                  <a:lnTo>
                    <a:pt x="1870" y="781"/>
                  </a:lnTo>
                  <a:lnTo>
                    <a:pt x="1889" y="858"/>
                  </a:lnTo>
                  <a:lnTo>
                    <a:pt x="1884" y="945"/>
                  </a:lnTo>
                  <a:lnTo>
                    <a:pt x="1880" y="986"/>
                  </a:lnTo>
                  <a:lnTo>
                    <a:pt x="1882" y="1031"/>
                  </a:lnTo>
                  <a:lnTo>
                    <a:pt x="1884" y="1077"/>
                  </a:lnTo>
                  <a:lnTo>
                    <a:pt x="1887" y="1123"/>
                  </a:lnTo>
                  <a:lnTo>
                    <a:pt x="1884" y="1169"/>
                  </a:lnTo>
                  <a:lnTo>
                    <a:pt x="1879" y="1216"/>
                  </a:lnTo>
                  <a:lnTo>
                    <a:pt x="1864" y="1260"/>
                  </a:lnTo>
                  <a:lnTo>
                    <a:pt x="1841" y="1304"/>
                  </a:lnTo>
                  <a:lnTo>
                    <a:pt x="1805" y="1393"/>
                  </a:lnTo>
                  <a:lnTo>
                    <a:pt x="1759" y="1480"/>
                  </a:lnTo>
                  <a:lnTo>
                    <a:pt x="1703" y="1563"/>
                  </a:lnTo>
                  <a:lnTo>
                    <a:pt x="1640" y="1641"/>
                  </a:lnTo>
                  <a:lnTo>
                    <a:pt x="1568" y="1711"/>
                  </a:lnTo>
                  <a:lnTo>
                    <a:pt x="1488" y="1771"/>
                  </a:lnTo>
                  <a:lnTo>
                    <a:pt x="1404" y="1822"/>
                  </a:lnTo>
                  <a:lnTo>
                    <a:pt x="1314" y="1860"/>
                  </a:lnTo>
                  <a:lnTo>
                    <a:pt x="1221" y="1906"/>
                  </a:lnTo>
                  <a:lnTo>
                    <a:pt x="1129" y="1931"/>
                  </a:lnTo>
                  <a:lnTo>
                    <a:pt x="1033" y="1940"/>
                  </a:lnTo>
                  <a:lnTo>
                    <a:pt x="937" y="1937"/>
                  </a:lnTo>
                  <a:lnTo>
                    <a:pt x="838" y="1923"/>
                  </a:lnTo>
                  <a:lnTo>
                    <a:pt x="741" y="1907"/>
                  </a:lnTo>
                  <a:lnTo>
                    <a:pt x="643" y="1889"/>
                  </a:lnTo>
                  <a:lnTo>
                    <a:pt x="546" y="1875"/>
                  </a:lnTo>
                  <a:lnTo>
                    <a:pt x="461" y="1818"/>
                  </a:lnTo>
                  <a:lnTo>
                    <a:pt x="381" y="1754"/>
                  </a:lnTo>
                  <a:lnTo>
                    <a:pt x="305" y="1679"/>
                  </a:lnTo>
                  <a:lnTo>
                    <a:pt x="237" y="1599"/>
                  </a:lnTo>
                  <a:lnTo>
                    <a:pt x="172" y="1513"/>
                  </a:lnTo>
                  <a:lnTo>
                    <a:pt x="117" y="1425"/>
                  </a:lnTo>
                  <a:lnTo>
                    <a:pt x="67" y="1334"/>
                  </a:lnTo>
                  <a:lnTo>
                    <a:pt x="27" y="1244"/>
                  </a:lnTo>
                  <a:lnTo>
                    <a:pt x="8" y="1116"/>
                  </a:lnTo>
                  <a:lnTo>
                    <a:pt x="0" y="989"/>
                  </a:lnTo>
                  <a:lnTo>
                    <a:pt x="5" y="864"/>
                  </a:lnTo>
                  <a:lnTo>
                    <a:pt x="22" y="740"/>
                  </a:lnTo>
                  <a:lnTo>
                    <a:pt x="48" y="619"/>
                  </a:lnTo>
                  <a:lnTo>
                    <a:pt x="88" y="501"/>
                  </a:lnTo>
                  <a:lnTo>
                    <a:pt x="138" y="387"/>
                  </a:lnTo>
                  <a:lnTo>
                    <a:pt x="200" y="279"/>
                  </a:lnTo>
                  <a:lnTo>
                    <a:pt x="223" y="252"/>
                  </a:lnTo>
                  <a:lnTo>
                    <a:pt x="248" y="225"/>
                  </a:lnTo>
                  <a:lnTo>
                    <a:pt x="272" y="198"/>
                  </a:lnTo>
                  <a:lnTo>
                    <a:pt x="298" y="172"/>
                  </a:lnTo>
                  <a:lnTo>
                    <a:pt x="320" y="144"/>
                  </a:lnTo>
                  <a:lnTo>
                    <a:pt x="344" y="116"/>
                  </a:lnTo>
                  <a:lnTo>
                    <a:pt x="369" y="88"/>
                  </a:lnTo>
                  <a:lnTo>
                    <a:pt x="393" y="61"/>
                  </a:lnTo>
                  <a:lnTo>
                    <a:pt x="470" y="23"/>
                  </a:lnTo>
                  <a:lnTo>
                    <a:pt x="553" y="5"/>
                  </a:lnTo>
                  <a:lnTo>
                    <a:pt x="638" y="0"/>
                  </a:lnTo>
                  <a:lnTo>
                    <a:pt x="725" y="6"/>
                  </a:lnTo>
                  <a:lnTo>
                    <a:pt x="813" y="16"/>
                  </a:lnTo>
                  <a:lnTo>
                    <a:pt x="901" y="30"/>
                  </a:lnTo>
                  <a:lnTo>
                    <a:pt x="987" y="42"/>
                  </a:lnTo>
                  <a:lnTo>
                    <a:pt x="1073" y="50"/>
                  </a:lnTo>
                  <a:lnTo>
                    <a:pt x="1255" y="154"/>
                  </a:lnTo>
                  <a:close/>
                </a:path>
              </a:pathLst>
            </a:custGeom>
            <a:solidFill>
              <a:srgbClr val="FFFF92"/>
            </a:solidFill>
            <a:ln w="9525">
              <a:noFill/>
              <a:round/>
              <a:headEnd/>
              <a:tailEnd/>
            </a:ln>
          </p:spPr>
          <p:txBody>
            <a:bodyPr/>
            <a:lstStyle/>
            <a:p>
              <a:pPr>
                <a:defRPr/>
              </a:pPr>
              <a:endParaRPr lang="en-US" dirty="0">
                <a:cs typeface="+mn-cs"/>
              </a:endParaRPr>
            </a:p>
          </p:txBody>
        </p:sp>
        <p:sp>
          <p:nvSpPr>
            <p:cNvPr id="89" name="Freeform 1079"/>
            <p:cNvSpPr>
              <a:spLocks/>
            </p:cNvSpPr>
            <p:nvPr/>
          </p:nvSpPr>
          <p:spPr bwMode="auto">
            <a:xfrm>
              <a:off x="1626" y="2432"/>
              <a:ext cx="432" cy="445"/>
            </a:xfrm>
            <a:custGeom>
              <a:avLst/>
              <a:gdLst>
                <a:gd name="T0" fmla="*/ 0 w 1731"/>
                <a:gd name="T1" fmla="*/ 0 h 1778"/>
                <a:gd name="T2" fmla="*/ 0 w 1731"/>
                <a:gd name="T3" fmla="*/ 0 h 1778"/>
                <a:gd name="T4" fmla="*/ 0 w 1731"/>
                <a:gd name="T5" fmla="*/ 0 h 1778"/>
                <a:gd name="T6" fmla="*/ 0 w 1731"/>
                <a:gd name="T7" fmla="*/ 0 h 1778"/>
                <a:gd name="T8" fmla="*/ 0 w 1731"/>
                <a:gd name="T9" fmla="*/ 0 h 1778"/>
                <a:gd name="T10" fmla="*/ 0 w 1731"/>
                <a:gd name="T11" fmla="*/ 0 h 1778"/>
                <a:gd name="T12" fmla="*/ 0 w 1731"/>
                <a:gd name="T13" fmla="*/ 0 h 1778"/>
                <a:gd name="T14" fmla="*/ 0 w 1731"/>
                <a:gd name="T15" fmla="*/ 0 h 1778"/>
                <a:gd name="T16" fmla="*/ 0 w 1731"/>
                <a:gd name="T17" fmla="*/ 0 h 1778"/>
                <a:gd name="T18" fmla="*/ 0 w 1731"/>
                <a:gd name="T19" fmla="*/ 0 h 1778"/>
                <a:gd name="T20" fmla="*/ 0 w 1731"/>
                <a:gd name="T21" fmla="*/ 0 h 1778"/>
                <a:gd name="T22" fmla="*/ 0 w 1731"/>
                <a:gd name="T23" fmla="*/ 0 h 1778"/>
                <a:gd name="T24" fmla="*/ 0 w 1731"/>
                <a:gd name="T25" fmla="*/ 0 h 1778"/>
                <a:gd name="T26" fmla="*/ 0 w 1731"/>
                <a:gd name="T27" fmla="*/ 0 h 1778"/>
                <a:gd name="T28" fmla="*/ 0 w 1731"/>
                <a:gd name="T29" fmla="*/ 0 h 1778"/>
                <a:gd name="T30" fmla="*/ 0 w 1731"/>
                <a:gd name="T31" fmla="*/ 0 h 1778"/>
                <a:gd name="T32" fmla="*/ 0 w 1731"/>
                <a:gd name="T33" fmla="*/ 0 h 1778"/>
                <a:gd name="T34" fmla="*/ 0 w 1731"/>
                <a:gd name="T35" fmla="*/ 0 h 1778"/>
                <a:gd name="T36" fmla="*/ 0 w 1731"/>
                <a:gd name="T37" fmla="*/ 0 h 1778"/>
                <a:gd name="T38" fmla="*/ 0 w 1731"/>
                <a:gd name="T39" fmla="*/ 0 h 1778"/>
                <a:gd name="T40" fmla="*/ 0 w 1731"/>
                <a:gd name="T41" fmla="*/ 0 h 1778"/>
                <a:gd name="T42" fmla="*/ 0 w 1731"/>
                <a:gd name="T43" fmla="*/ 0 h 1778"/>
                <a:gd name="T44" fmla="*/ 0 w 1731"/>
                <a:gd name="T45" fmla="*/ 0 h 1778"/>
                <a:gd name="T46" fmla="*/ 0 w 1731"/>
                <a:gd name="T47" fmla="*/ 0 h 1778"/>
                <a:gd name="T48" fmla="*/ 0 w 1731"/>
                <a:gd name="T49" fmla="*/ 0 h 1778"/>
                <a:gd name="T50" fmla="*/ 0 w 1731"/>
                <a:gd name="T51" fmla="*/ 0 h 1778"/>
                <a:gd name="T52" fmla="*/ 0 w 1731"/>
                <a:gd name="T53" fmla="*/ 0 h 1778"/>
                <a:gd name="T54" fmla="*/ 0 w 1731"/>
                <a:gd name="T55" fmla="*/ 0 h 1778"/>
                <a:gd name="T56" fmla="*/ 0 w 1731"/>
                <a:gd name="T57" fmla="*/ 0 h 1778"/>
                <a:gd name="T58" fmla="*/ 0 w 1731"/>
                <a:gd name="T59" fmla="*/ 0 h 1778"/>
                <a:gd name="T60" fmla="*/ 0 w 1731"/>
                <a:gd name="T61" fmla="*/ 0 h 1778"/>
                <a:gd name="T62" fmla="*/ 0 w 1731"/>
                <a:gd name="T63" fmla="*/ 0 h 1778"/>
                <a:gd name="T64" fmla="*/ 0 w 1731"/>
                <a:gd name="T65" fmla="*/ 0 h 1778"/>
                <a:gd name="T66" fmla="*/ 0 w 1731"/>
                <a:gd name="T67" fmla="*/ 0 h 1778"/>
                <a:gd name="T68" fmla="*/ 0 w 1731"/>
                <a:gd name="T69" fmla="*/ 0 h 1778"/>
                <a:gd name="T70" fmla="*/ 0 w 1731"/>
                <a:gd name="T71" fmla="*/ 0 h 1778"/>
                <a:gd name="T72" fmla="*/ 0 w 1731"/>
                <a:gd name="T73" fmla="*/ 0 h 17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31"/>
                <a:gd name="T112" fmla="*/ 0 h 1778"/>
                <a:gd name="T113" fmla="*/ 1731 w 1731"/>
                <a:gd name="T114" fmla="*/ 1778 h 177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31" h="1778">
                  <a:moveTo>
                    <a:pt x="1150" y="141"/>
                  </a:moveTo>
                  <a:lnTo>
                    <a:pt x="1188" y="167"/>
                  </a:lnTo>
                  <a:lnTo>
                    <a:pt x="1222" y="197"/>
                  </a:lnTo>
                  <a:lnTo>
                    <a:pt x="1251" y="230"/>
                  </a:lnTo>
                  <a:lnTo>
                    <a:pt x="1279" y="266"/>
                  </a:lnTo>
                  <a:lnTo>
                    <a:pt x="1305" y="300"/>
                  </a:lnTo>
                  <a:lnTo>
                    <a:pt x="1331" y="335"/>
                  </a:lnTo>
                  <a:lnTo>
                    <a:pt x="1359" y="368"/>
                  </a:lnTo>
                  <a:lnTo>
                    <a:pt x="1391" y="402"/>
                  </a:lnTo>
                  <a:lnTo>
                    <a:pt x="1449" y="444"/>
                  </a:lnTo>
                  <a:lnTo>
                    <a:pt x="1511" y="491"/>
                  </a:lnTo>
                  <a:lnTo>
                    <a:pt x="1573" y="540"/>
                  </a:lnTo>
                  <a:lnTo>
                    <a:pt x="1631" y="593"/>
                  </a:lnTo>
                  <a:lnTo>
                    <a:pt x="1679" y="650"/>
                  </a:lnTo>
                  <a:lnTo>
                    <a:pt x="1714" y="716"/>
                  </a:lnTo>
                  <a:lnTo>
                    <a:pt x="1731" y="787"/>
                  </a:lnTo>
                  <a:lnTo>
                    <a:pt x="1726" y="867"/>
                  </a:lnTo>
                  <a:lnTo>
                    <a:pt x="1722" y="903"/>
                  </a:lnTo>
                  <a:lnTo>
                    <a:pt x="1723" y="945"/>
                  </a:lnTo>
                  <a:lnTo>
                    <a:pt x="1726" y="987"/>
                  </a:lnTo>
                  <a:lnTo>
                    <a:pt x="1728" y="1030"/>
                  </a:lnTo>
                  <a:lnTo>
                    <a:pt x="1726" y="1072"/>
                  </a:lnTo>
                  <a:lnTo>
                    <a:pt x="1721" y="1115"/>
                  </a:lnTo>
                  <a:lnTo>
                    <a:pt x="1708" y="1155"/>
                  </a:lnTo>
                  <a:lnTo>
                    <a:pt x="1687" y="1196"/>
                  </a:lnTo>
                  <a:lnTo>
                    <a:pt x="1652" y="1277"/>
                  </a:lnTo>
                  <a:lnTo>
                    <a:pt x="1611" y="1356"/>
                  </a:lnTo>
                  <a:lnTo>
                    <a:pt x="1560" y="1432"/>
                  </a:lnTo>
                  <a:lnTo>
                    <a:pt x="1502" y="1504"/>
                  </a:lnTo>
                  <a:lnTo>
                    <a:pt x="1435" y="1568"/>
                  </a:lnTo>
                  <a:lnTo>
                    <a:pt x="1363" y="1625"/>
                  </a:lnTo>
                  <a:lnTo>
                    <a:pt x="1284" y="1670"/>
                  </a:lnTo>
                  <a:lnTo>
                    <a:pt x="1203" y="1704"/>
                  </a:lnTo>
                  <a:lnTo>
                    <a:pt x="1119" y="1746"/>
                  </a:lnTo>
                  <a:lnTo>
                    <a:pt x="1032" y="1770"/>
                  </a:lnTo>
                  <a:lnTo>
                    <a:pt x="945" y="1778"/>
                  </a:lnTo>
                  <a:lnTo>
                    <a:pt x="858" y="1775"/>
                  </a:lnTo>
                  <a:lnTo>
                    <a:pt x="768" y="1763"/>
                  </a:lnTo>
                  <a:lnTo>
                    <a:pt x="678" y="1747"/>
                  </a:lnTo>
                  <a:lnTo>
                    <a:pt x="588" y="1731"/>
                  </a:lnTo>
                  <a:lnTo>
                    <a:pt x="499" y="1718"/>
                  </a:lnTo>
                  <a:lnTo>
                    <a:pt x="420" y="1666"/>
                  </a:lnTo>
                  <a:lnTo>
                    <a:pt x="348" y="1607"/>
                  </a:lnTo>
                  <a:lnTo>
                    <a:pt x="280" y="1539"/>
                  </a:lnTo>
                  <a:lnTo>
                    <a:pt x="216" y="1465"/>
                  </a:lnTo>
                  <a:lnTo>
                    <a:pt x="157" y="1387"/>
                  </a:lnTo>
                  <a:lnTo>
                    <a:pt x="106" y="1306"/>
                  </a:lnTo>
                  <a:lnTo>
                    <a:pt x="61" y="1222"/>
                  </a:lnTo>
                  <a:lnTo>
                    <a:pt x="23" y="1140"/>
                  </a:lnTo>
                  <a:lnTo>
                    <a:pt x="5" y="1024"/>
                  </a:lnTo>
                  <a:lnTo>
                    <a:pt x="0" y="907"/>
                  </a:lnTo>
                  <a:lnTo>
                    <a:pt x="4" y="792"/>
                  </a:lnTo>
                  <a:lnTo>
                    <a:pt x="19" y="679"/>
                  </a:lnTo>
                  <a:lnTo>
                    <a:pt x="43" y="567"/>
                  </a:lnTo>
                  <a:lnTo>
                    <a:pt x="80" y="459"/>
                  </a:lnTo>
                  <a:lnTo>
                    <a:pt x="125" y="354"/>
                  </a:lnTo>
                  <a:lnTo>
                    <a:pt x="182" y="257"/>
                  </a:lnTo>
                  <a:lnTo>
                    <a:pt x="204" y="230"/>
                  </a:lnTo>
                  <a:lnTo>
                    <a:pt x="227" y="206"/>
                  </a:lnTo>
                  <a:lnTo>
                    <a:pt x="248" y="182"/>
                  </a:lnTo>
                  <a:lnTo>
                    <a:pt x="271" y="158"/>
                  </a:lnTo>
                  <a:lnTo>
                    <a:pt x="292" y="133"/>
                  </a:lnTo>
                  <a:lnTo>
                    <a:pt x="315" y="107"/>
                  </a:lnTo>
                  <a:lnTo>
                    <a:pt x="337" y="81"/>
                  </a:lnTo>
                  <a:lnTo>
                    <a:pt x="358" y="55"/>
                  </a:lnTo>
                  <a:lnTo>
                    <a:pt x="429" y="21"/>
                  </a:lnTo>
                  <a:lnTo>
                    <a:pt x="505" y="5"/>
                  </a:lnTo>
                  <a:lnTo>
                    <a:pt x="583" y="0"/>
                  </a:lnTo>
                  <a:lnTo>
                    <a:pt x="663" y="5"/>
                  </a:lnTo>
                  <a:lnTo>
                    <a:pt x="743" y="15"/>
                  </a:lnTo>
                  <a:lnTo>
                    <a:pt x="824" y="28"/>
                  </a:lnTo>
                  <a:lnTo>
                    <a:pt x="902" y="39"/>
                  </a:lnTo>
                  <a:lnTo>
                    <a:pt x="982" y="47"/>
                  </a:lnTo>
                  <a:lnTo>
                    <a:pt x="1150" y="141"/>
                  </a:lnTo>
                  <a:close/>
                </a:path>
              </a:pathLst>
            </a:custGeom>
            <a:solidFill>
              <a:srgbClr val="FFFF9B"/>
            </a:solidFill>
            <a:ln w="9525">
              <a:noFill/>
              <a:round/>
              <a:headEnd/>
              <a:tailEnd/>
            </a:ln>
          </p:spPr>
          <p:txBody>
            <a:bodyPr/>
            <a:lstStyle/>
            <a:p>
              <a:pPr>
                <a:defRPr/>
              </a:pPr>
              <a:endParaRPr lang="en-US" dirty="0">
                <a:cs typeface="+mn-cs"/>
              </a:endParaRPr>
            </a:p>
          </p:txBody>
        </p:sp>
        <p:sp>
          <p:nvSpPr>
            <p:cNvPr id="90" name="Freeform 1080"/>
            <p:cNvSpPr>
              <a:spLocks/>
            </p:cNvSpPr>
            <p:nvPr/>
          </p:nvSpPr>
          <p:spPr bwMode="auto">
            <a:xfrm>
              <a:off x="1645" y="2453"/>
              <a:ext cx="393" cy="404"/>
            </a:xfrm>
            <a:custGeom>
              <a:avLst/>
              <a:gdLst>
                <a:gd name="T0" fmla="*/ 0 w 1574"/>
                <a:gd name="T1" fmla="*/ 0 h 1616"/>
                <a:gd name="T2" fmla="*/ 0 w 1574"/>
                <a:gd name="T3" fmla="*/ 0 h 1616"/>
                <a:gd name="T4" fmla="*/ 0 w 1574"/>
                <a:gd name="T5" fmla="*/ 0 h 1616"/>
                <a:gd name="T6" fmla="*/ 0 w 1574"/>
                <a:gd name="T7" fmla="*/ 0 h 1616"/>
                <a:gd name="T8" fmla="*/ 0 w 1574"/>
                <a:gd name="T9" fmla="*/ 0 h 1616"/>
                <a:gd name="T10" fmla="*/ 0 w 1574"/>
                <a:gd name="T11" fmla="*/ 0 h 1616"/>
                <a:gd name="T12" fmla="*/ 0 w 1574"/>
                <a:gd name="T13" fmla="*/ 0 h 1616"/>
                <a:gd name="T14" fmla="*/ 0 w 1574"/>
                <a:gd name="T15" fmla="*/ 0 h 1616"/>
                <a:gd name="T16" fmla="*/ 0 w 1574"/>
                <a:gd name="T17" fmla="*/ 0 h 1616"/>
                <a:gd name="T18" fmla="*/ 0 w 1574"/>
                <a:gd name="T19" fmla="*/ 0 h 1616"/>
                <a:gd name="T20" fmla="*/ 0 w 1574"/>
                <a:gd name="T21" fmla="*/ 0 h 1616"/>
                <a:gd name="T22" fmla="*/ 0 w 1574"/>
                <a:gd name="T23" fmla="*/ 0 h 1616"/>
                <a:gd name="T24" fmla="*/ 0 w 1574"/>
                <a:gd name="T25" fmla="*/ 0 h 1616"/>
                <a:gd name="T26" fmla="*/ 0 w 1574"/>
                <a:gd name="T27" fmla="*/ 0 h 1616"/>
                <a:gd name="T28" fmla="*/ 0 w 1574"/>
                <a:gd name="T29" fmla="*/ 0 h 1616"/>
                <a:gd name="T30" fmla="*/ 0 w 1574"/>
                <a:gd name="T31" fmla="*/ 0 h 1616"/>
                <a:gd name="T32" fmla="*/ 0 w 1574"/>
                <a:gd name="T33" fmla="*/ 0 h 1616"/>
                <a:gd name="T34" fmla="*/ 0 w 1574"/>
                <a:gd name="T35" fmla="*/ 0 h 1616"/>
                <a:gd name="T36" fmla="*/ 0 w 1574"/>
                <a:gd name="T37" fmla="*/ 0 h 1616"/>
                <a:gd name="T38" fmla="*/ 0 w 1574"/>
                <a:gd name="T39" fmla="*/ 0 h 1616"/>
                <a:gd name="T40" fmla="*/ 0 w 1574"/>
                <a:gd name="T41" fmla="*/ 0 h 1616"/>
                <a:gd name="T42" fmla="*/ 0 w 1574"/>
                <a:gd name="T43" fmla="*/ 0 h 1616"/>
                <a:gd name="T44" fmla="*/ 0 w 1574"/>
                <a:gd name="T45" fmla="*/ 0 h 1616"/>
                <a:gd name="T46" fmla="*/ 0 w 1574"/>
                <a:gd name="T47" fmla="*/ 0 h 1616"/>
                <a:gd name="T48" fmla="*/ 0 w 1574"/>
                <a:gd name="T49" fmla="*/ 0 h 1616"/>
                <a:gd name="T50" fmla="*/ 0 w 1574"/>
                <a:gd name="T51" fmla="*/ 0 h 1616"/>
                <a:gd name="T52" fmla="*/ 0 w 1574"/>
                <a:gd name="T53" fmla="*/ 0 h 1616"/>
                <a:gd name="T54" fmla="*/ 0 w 1574"/>
                <a:gd name="T55" fmla="*/ 0 h 1616"/>
                <a:gd name="T56" fmla="*/ 0 w 1574"/>
                <a:gd name="T57" fmla="*/ 0 h 1616"/>
                <a:gd name="T58" fmla="*/ 0 w 1574"/>
                <a:gd name="T59" fmla="*/ 0 h 1616"/>
                <a:gd name="T60" fmla="*/ 0 w 1574"/>
                <a:gd name="T61" fmla="*/ 0 h 1616"/>
                <a:gd name="T62" fmla="*/ 0 w 1574"/>
                <a:gd name="T63" fmla="*/ 0 h 1616"/>
                <a:gd name="T64" fmla="*/ 0 w 1574"/>
                <a:gd name="T65" fmla="*/ 0 h 1616"/>
                <a:gd name="T66" fmla="*/ 0 w 1574"/>
                <a:gd name="T67" fmla="*/ 0 h 1616"/>
                <a:gd name="T68" fmla="*/ 0 w 1574"/>
                <a:gd name="T69" fmla="*/ 0 h 1616"/>
                <a:gd name="T70" fmla="*/ 0 w 1574"/>
                <a:gd name="T71" fmla="*/ 0 h 1616"/>
                <a:gd name="T72" fmla="*/ 0 w 1574"/>
                <a:gd name="T73" fmla="*/ 0 h 161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74"/>
                <a:gd name="T112" fmla="*/ 0 h 1616"/>
                <a:gd name="T113" fmla="*/ 1574 w 1574"/>
                <a:gd name="T114" fmla="*/ 1616 h 161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74" h="1616">
                  <a:moveTo>
                    <a:pt x="1047" y="129"/>
                  </a:moveTo>
                  <a:lnTo>
                    <a:pt x="1081" y="152"/>
                  </a:lnTo>
                  <a:lnTo>
                    <a:pt x="1112" y="179"/>
                  </a:lnTo>
                  <a:lnTo>
                    <a:pt x="1139" y="209"/>
                  </a:lnTo>
                  <a:lnTo>
                    <a:pt x="1164" y="241"/>
                  </a:lnTo>
                  <a:lnTo>
                    <a:pt x="1188" y="272"/>
                  </a:lnTo>
                  <a:lnTo>
                    <a:pt x="1212" y="305"/>
                  </a:lnTo>
                  <a:lnTo>
                    <a:pt x="1236" y="335"/>
                  </a:lnTo>
                  <a:lnTo>
                    <a:pt x="1265" y="365"/>
                  </a:lnTo>
                  <a:lnTo>
                    <a:pt x="1319" y="403"/>
                  </a:lnTo>
                  <a:lnTo>
                    <a:pt x="1376" y="446"/>
                  </a:lnTo>
                  <a:lnTo>
                    <a:pt x="1431" y="491"/>
                  </a:lnTo>
                  <a:lnTo>
                    <a:pt x="1484" y="540"/>
                  </a:lnTo>
                  <a:lnTo>
                    <a:pt x="1527" y="592"/>
                  </a:lnTo>
                  <a:lnTo>
                    <a:pt x="1559" y="650"/>
                  </a:lnTo>
                  <a:lnTo>
                    <a:pt x="1574" y="715"/>
                  </a:lnTo>
                  <a:lnTo>
                    <a:pt x="1570" y="787"/>
                  </a:lnTo>
                  <a:lnTo>
                    <a:pt x="1567" y="821"/>
                  </a:lnTo>
                  <a:lnTo>
                    <a:pt x="1568" y="859"/>
                  </a:lnTo>
                  <a:lnTo>
                    <a:pt x="1569" y="897"/>
                  </a:lnTo>
                  <a:lnTo>
                    <a:pt x="1572" y="936"/>
                  </a:lnTo>
                  <a:lnTo>
                    <a:pt x="1570" y="974"/>
                  </a:lnTo>
                  <a:lnTo>
                    <a:pt x="1565" y="1013"/>
                  </a:lnTo>
                  <a:lnTo>
                    <a:pt x="1554" y="1050"/>
                  </a:lnTo>
                  <a:lnTo>
                    <a:pt x="1535" y="1087"/>
                  </a:lnTo>
                  <a:lnTo>
                    <a:pt x="1505" y="1160"/>
                  </a:lnTo>
                  <a:lnTo>
                    <a:pt x="1467" y="1232"/>
                  </a:lnTo>
                  <a:lnTo>
                    <a:pt x="1420" y="1302"/>
                  </a:lnTo>
                  <a:lnTo>
                    <a:pt x="1367" y="1368"/>
                  </a:lnTo>
                  <a:lnTo>
                    <a:pt x="1306" y="1426"/>
                  </a:lnTo>
                  <a:lnTo>
                    <a:pt x="1240" y="1477"/>
                  </a:lnTo>
                  <a:lnTo>
                    <a:pt x="1169" y="1518"/>
                  </a:lnTo>
                  <a:lnTo>
                    <a:pt x="1096" y="1550"/>
                  </a:lnTo>
                  <a:lnTo>
                    <a:pt x="1019" y="1588"/>
                  </a:lnTo>
                  <a:lnTo>
                    <a:pt x="940" y="1609"/>
                  </a:lnTo>
                  <a:lnTo>
                    <a:pt x="861" y="1616"/>
                  </a:lnTo>
                  <a:lnTo>
                    <a:pt x="781" y="1613"/>
                  </a:lnTo>
                  <a:lnTo>
                    <a:pt x="699" y="1603"/>
                  </a:lnTo>
                  <a:lnTo>
                    <a:pt x="618" y="1589"/>
                  </a:lnTo>
                  <a:lnTo>
                    <a:pt x="535" y="1574"/>
                  </a:lnTo>
                  <a:lnTo>
                    <a:pt x="454" y="1563"/>
                  </a:lnTo>
                  <a:lnTo>
                    <a:pt x="384" y="1514"/>
                  </a:lnTo>
                  <a:lnTo>
                    <a:pt x="318" y="1460"/>
                  </a:lnTo>
                  <a:lnTo>
                    <a:pt x="256" y="1398"/>
                  </a:lnTo>
                  <a:lnTo>
                    <a:pt x="199" y="1332"/>
                  </a:lnTo>
                  <a:lnTo>
                    <a:pt x="144" y="1260"/>
                  </a:lnTo>
                  <a:lnTo>
                    <a:pt x="98" y="1187"/>
                  </a:lnTo>
                  <a:lnTo>
                    <a:pt x="56" y="1111"/>
                  </a:lnTo>
                  <a:lnTo>
                    <a:pt x="23" y="1036"/>
                  </a:lnTo>
                  <a:lnTo>
                    <a:pt x="7" y="930"/>
                  </a:lnTo>
                  <a:lnTo>
                    <a:pt x="0" y="825"/>
                  </a:lnTo>
                  <a:lnTo>
                    <a:pt x="4" y="720"/>
                  </a:lnTo>
                  <a:lnTo>
                    <a:pt x="18" y="617"/>
                  </a:lnTo>
                  <a:lnTo>
                    <a:pt x="39" y="515"/>
                  </a:lnTo>
                  <a:lnTo>
                    <a:pt x="74" y="417"/>
                  </a:lnTo>
                  <a:lnTo>
                    <a:pt x="114" y="322"/>
                  </a:lnTo>
                  <a:lnTo>
                    <a:pt x="167" y="233"/>
                  </a:lnTo>
                  <a:lnTo>
                    <a:pt x="186" y="210"/>
                  </a:lnTo>
                  <a:lnTo>
                    <a:pt x="206" y="187"/>
                  </a:lnTo>
                  <a:lnTo>
                    <a:pt x="227" y="164"/>
                  </a:lnTo>
                  <a:lnTo>
                    <a:pt x="247" y="143"/>
                  </a:lnTo>
                  <a:lnTo>
                    <a:pt x="267" y="120"/>
                  </a:lnTo>
                  <a:lnTo>
                    <a:pt x="287" y="97"/>
                  </a:lnTo>
                  <a:lnTo>
                    <a:pt x="308" y="73"/>
                  </a:lnTo>
                  <a:lnTo>
                    <a:pt x="328" y="50"/>
                  </a:lnTo>
                  <a:lnTo>
                    <a:pt x="392" y="19"/>
                  </a:lnTo>
                  <a:lnTo>
                    <a:pt x="461" y="4"/>
                  </a:lnTo>
                  <a:lnTo>
                    <a:pt x="532" y="0"/>
                  </a:lnTo>
                  <a:lnTo>
                    <a:pt x="605" y="5"/>
                  </a:lnTo>
                  <a:lnTo>
                    <a:pt x="677" y="14"/>
                  </a:lnTo>
                  <a:lnTo>
                    <a:pt x="751" y="25"/>
                  </a:lnTo>
                  <a:lnTo>
                    <a:pt x="823" y="35"/>
                  </a:lnTo>
                  <a:lnTo>
                    <a:pt x="895" y="43"/>
                  </a:lnTo>
                  <a:lnTo>
                    <a:pt x="1047" y="129"/>
                  </a:lnTo>
                  <a:close/>
                </a:path>
              </a:pathLst>
            </a:custGeom>
            <a:solidFill>
              <a:srgbClr val="FFFFA4"/>
            </a:solidFill>
            <a:ln w="9525">
              <a:noFill/>
              <a:round/>
              <a:headEnd/>
              <a:tailEnd/>
            </a:ln>
          </p:spPr>
          <p:txBody>
            <a:bodyPr/>
            <a:lstStyle/>
            <a:p>
              <a:pPr>
                <a:defRPr/>
              </a:pPr>
              <a:endParaRPr lang="en-US" dirty="0">
                <a:cs typeface="+mn-cs"/>
              </a:endParaRPr>
            </a:p>
          </p:txBody>
        </p:sp>
        <p:sp>
          <p:nvSpPr>
            <p:cNvPr id="91" name="Freeform 1081"/>
            <p:cNvSpPr>
              <a:spLocks/>
            </p:cNvSpPr>
            <p:nvPr/>
          </p:nvSpPr>
          <p:spPr bwMode="auto">
            <a:xfrm>
              <a:off x="1665" y="2473"/>
              <a:ext cx="353" cy="363"/>
            </a:xfrm>
            <a:custGeom>
              <a:avLst/>
              <a:gdLst>
                <a:gd name="T0" fmla="*/ 0 w 1414"/>
                <a:gd name="T1" fmla="*/ 0 h 1456"/>
                <a:gd name="T2" fmla="*/ 0 w 1414"/>
                <a:gd name="T3" fmla="*/ 0 h 1456"/>
                <a:gd name="T4" fmla="*/ 0 w 1414"/>
                <a:gd name="T5" fmla="*/ 0 h 1456"/>
                <a:gd name="T6" fmla="*/ 0 w 1414"/>
                <a:gd name="T7" fmla="*/ 0 h 1456"/>
                <a:gd name="T8" fmla="*/ 0 w 1414"/>
                <a:gd name="T9" fmla="*/ 0 h 1456"/>
                <a:gd name="T10" fmla="*/ 0 w 1414"/>
                <a:gd name="T11" fmla="*/ 0 h 1456"/>
                <a:gd name="T12" fmla="*/ 0 w 1414"/>
                <a:gd name="T13" fmla="*/ 0 h 1456"/>
                <a:gd name="T14" fmla="*/ 0 w 1414"/>
                <a:gd name="T15" fmla="*/ 0 h 1456"/>
                <a:gd name="T16" fmla="*/ 0 w 1414"/>
                <a:gd name="T17" fmla="*/ 0 h 1456"/>
                <a:gd name="T18" fmla="*/ 0 w 1414"/>
                <a:gd name="T19" fmla="*/ 0 h 1456"/>
                <a:gd name="T20" fmla="*/ 0 w 1414"/>
                <a:gd name="T21" fmla="*/ 0 h 1456"/>
                <a:gd name="T22" fmla="*/ 0 w 1414"/>
                <a:gd name="T23" fmla="*/ 0 h 1456"/>
                <a:gd name="T24" fmla="*/ 0 w 1414"/>
                <a:gd name="T25" fmla="*/ 0 h 1456"/>
                <a:gd name="T26" fmla="*/ 0 w 1414"/>
                <a:gd name="T27" fmla="*/ 0 h 1456"/>
                <a:gd name="T28" fmla="*/ 0 w 1414"/>
                <a:gd name="T29" fmla="*/ 0 h 1456"/>
                <a:gd name="T30" fmla="*/ 0 w 1414"/>
                <a:gd name="T31" fmla="*/ 0 h 1456"/>
                <a:gd name="T32" fmla="*/ 0 w 1414"/>
                <a:gd name="T33" fmla="*/ 0 h 1456"/>
                <a:gd name="T34" fmla="*/ 0 w 1414"/>
                <a:gd name="T35" fmla="*/ 0 h 1456"/>
                <a:gd name="T36" fmla="*/ 0 w 1414"/>
                <a:gd name="T37" fmla="*/ 0 h 1456"/>
                <a:gd name="T38" fmla="*/ 0 w 1414"/>
                <a:gd name="T39" fmla="*/ 0 h 1456"/>
                <a:gd name="T40" fmla="*/ 0 w 1414"/>
                <a:gd name="T41" fmla="*/ 0 h 1456"/>
                <a:gd name="T42" fmla="*/ 0 w 1414"/>
                <a:gd name="T43" fmla="*/ 0 h 1456"/>
                <a:gd name="T44" fmla="*/ 0 w 1414"/>
                <a:gd name="T45" fmla="*/ 0 h 1456"/>
                <a:gd name="T46" fmla="*/ 0 w 1414"/>
                <a:gd name="T47" fmla="*/ 0 h 1456"/>
                <a:gd name="T48" fmla="*/ 0 w 1414"/>
                <a:gd name="T49" fmla="*/ 0 h 1456"/>
                <a:gd name="T50" fmla="*/ 0 w 1414"/>
                <a:gd name="T51" fmla="*/ 0 h 1456"/>
                <a:gd name="T52" fmla="*/ 0 w 1414"/>
                <a:gd name="T53" fmla="*/ 0 h 1456"/>
                <a:gd name="T54" fmla="*/ 0 w 1414"/>
                <a:gd name="T55" fmla="*/ 0 h 1456"/>
                <a:gd name="T56" fmla="*/ 0 w 1414"/>
                <a:gd name="T57" fmla="*/ 0 h 1456"/>
                <a:gd name="T58" fmla="*/ 0 w 1414"/>
                <a:gd name="T59" fmla="*/ 0 h 1456"/>
                <a:gd name="T60" fmla="*/ 0 w 1414"/>
                <a:gd name="T61" fmla="*/ 0 h 1456"/>
                <a:gd name="T62" fmla="*/ 0 w 1414"/>
                <a:gd name="T63" fmla="*/ 0 h 1456"/>
                <a:gd name="T64" fmla="*/ 0 w 1414"/>
                <a:gd name="T65" fmla="*/ 0 h 1456"/>
                <a:gd name="T66" fmla="*/ 0 w 1414"/>
                <a:gd name="T67" fmla="*/ 0 h 1456"/>
                <a:gd name="T68" fmla="*/ 0 w 1414"/>
                <a:gd name="T69" fmla="*/ 0 h 1456"/>
                <a:gd name="T70" fmla="*/ 0 w 1414"/>
                <a:gd name="T71" fmla="*/ 0 h 1456"/>
                <a:gd name="T72" fmla="*/ 0 w 1414"/>
                <a:gd name="T73" fmla="*/ 0 h 14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14"/>
                <a:gd name="T112" fmla="*/ 0 h 1456"/>
                <a:gd name="T113" fmla="*/ 1414 w 1414"/>
                <a:gd name="T114" fmla="*/ 1456 h 14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14" h="1456">
                  <a:moveTo>
                    <a:pt x="941" y="118"/>
                  </a:moveTo>
                  <a:lnTo>
                    <a:pt x="972" y="138"/>
                  </a:lnTo>
                  <a:lnTo>
                    <a:pt x="999" y="164"/>
                  </a:lnTo>
                  <a:lnTo>
                    <a:pt x="1022" y="190"/>
                  </a:lnTo>
                  <a:lnTo>
                    <a:pt x="1046" y="218"/>
                  </a:lnTo>
                  <a:lnTo>
                    <a:pt x="1067" y="246"/>
                  </a:lnTo>
                  <a:lnTo>
                    <a:pt x="1089" y="275"/>
                  </a:lnTo>
                  <a:lnTo>
                    <a:pt x="1111" y="303"/>
                  </a:lnTo>
                  <a:lnTo>
                    <a:pt x="1137" y="331"/>
                  </a:lnTo>
                  <a:lnTo>
                    <a:pt x="1184" y="365"/>
                  </a:lnTo>
                  <a:lnTo>
                    <a:pt x="1236" y="403"/>
                  </a:lnTo>
                  <a:lnTo>
                    <a:pt x="1287" y="443"/>
                  </a:lnTo>
                  <a:lnTo>
                    <a:pt x="1335" y="488"/>
                  </a:lnTo>
                  <a:lnTo>
                    <a:pt x="1374" y="534"/>
                  </a:lnTo>
                  <a:lnTo>
                    <a:pt x="1402" y="588"/>
                  </a:lnTo>
                  <a:lnTo>
                    <a:pt x="1414" y="645"/>
                  </a:lnTo>
                  <a:lnTo>
                    <a:pt x="1412" y="710"/>
                  </a:lnTo>
                  <a:lnTo>
                    <a:pt x="1408" y="741"/>
                  </a:lnTo>
                  <a:lnTo>
                    <a:pt x="1409" y="775"/>
                  </a:lnTo>
                  <a:lnTo>
                    <a:pt x="1411" y="809"/>
                  </a:lnTo>
                  <a:lnTo>
                    <a:pt x="1413" y="845"/>
                  </a:lnTo>
                  <a:lnTo>
                    <a:pt x="1412" y="879"/>
                  </a:lnTo>
                  <a:lnTo>
                    <a:pt x="1408" y="914"/>
                  </a:lnTo>
                  <a:lnTo>
                    <a:pt x="1397" y="947"/>
                  </a:lnTo>
                  <a:lnTo>
                    <a:pt x="1380" y="980"/>
                  </a:lnTo>
                  <a:lnTo>
                    <a:pt x="1352" y="1046"/>
                  </a:lnTo>
                  <a:lnTo>
                    <a:pt x="1318" y="1112"/>
                  </a:lnTo>
                  <a:lnTo>
                    <a:pt x="1277" y="1174"/>
                  </a:lnTo>
                  <a:lnTo>
                    <a:pt x="1230" y="1233"/>
                  </a:lnTo>
                  <a:lnTo>
                    <a:pt x="1174" y="1285"/>
                  </a:lnTo>
                  <a:lnTo>
                    <a:pt x="1116" y="1332"/>
                  </a:lnTo>
                  <a:lnTo>
                    <a:pt x="1051" y="1368"/>
                  </a:lnTo>
                  <a:lnTo>
                    <a:pt x="984" y="1398"/>
                  </a:lnTo>
                  <a:lnTo>
                    <a:pt x="915" y="1432"/>
                  </a:lnTo>
                  <a:lnTo>
                    <a:pt x="844" y="1451"/>
                  </a:lnTo>
                  <a:lnTo>
                    <a:pt x="772" y="1456"/>
                  </a:lnTo>
                  <a:lnTo>
                    <a:pt x="701" y="1454"/>
                  </a:lnTo>
                  <a:lnTo>
                    <a:pt x="628" y="1444"/>
                  </a:lnTo>
                  <a:lnTo>
                    <a:pt x="554" y="1432"/>
                  </a:lnTo>
                  <a:lnTo>
                    <a:pt x="481" y="1418"/>
                  </a:lnTo>
                  <a:lnTo>
                    <a:pt x="407" y="1409"/>
                  </a:lnTo>
                  <a:lnTo>
                    <a:pt x="344" y="1366"/>
                  </a:lnTo>
                  <a:lnTo>
                    <a:pt x="285" y="1317"/>
                  </a:lnTo>
                  <a:lnTo>
                    <a:pt x="228" y="1261"/>
                  </a:lnTo>
                  <a:lnTo>
                    <a:pt x="177" y="1201"/>
                  </a:lnTo>
                  <a:lnTo>
                    <a:pt x="129" y="1137"/>
                  </a:lnTo>
                  <a:lnTo>
                    <a:pt x="87" y="1070"/>
                  </a:lnTo>
                  <a:lnTo>
                    <a:pt x="49" y="1001"/>
                  </a:lnTo>
                  <a:lnTo>
                    <a:pt x="19" y="934"/>
                  </a:lnTo>
                  <a:lnTo>
                    <a:pt x="4" y="838"/>
                  </a:lnTo>
                  <a:lnTo>
                    <a:pt x="0" y="743"/>
                  </a:lnTo>
                  <a:lnTo>
                    <a:pt x="2" y="650"/>
                  </a:lnTo>
                  <a:lnTo>
                    <a:pt x="15" y="557"/>
                  </a:lnTo>
                  <a:lnTo>
                    <a:pt x="34" y="465"/>
                  </a:lnTo>
                  <a:lnTo>
                    <a:pt x="64" y="378"/>
                  </a:lnTo>
                  <a:lnTo>
                    <a:pt x="101" y="292"/>
                  </a:lnTo>
                  <a:lnTo>
                    <a:pt x="149" y="212"/>
                  </a:lnTo>
                  <a:lnTo>
                    <a:pt x="167" y="190"/>
                  </a:lnTo>
                  <a:lnTo>
                    <a:pt x="185" y="170"/>
                  </a:lnTo>
                  <a:lnTo>
                    <a:pt x="202" y="150"/>
                  </a:lnTo>
                  <a:lnTo>
                    <a:pt x="221" y="131"/>
                  </a:lnTo>
                  <a:lnTo>
                    <a:pt x="239" y="109"/>
                  </a:lnTo>
                  <a:lnTo>
                    <a:pt x="258" y="89"/>
                  </a:lnTo>
                  <a:lnTo>
                    <a:pt x="276" y="68"/>
                  </a:lnTo>
                  <a:lnTo>
                    <a:pt x="293" y="47"/>
                  </a:lnTo>
                  <a:lnTo>
                    <a:pt x="352" y="18"/>
                  </a:lnTo>
                  <a:lnTo>
                    <a:pt x="414" y="6"/>
                  </a:lnTo>
                  <a:lnTo>
                    <a:pt x="477" y="0"/>
                  </a:lnTo>
                  <a:lnTo>
                    <a:pt x="543" y="6"/>
                  </a:lnTo>
                  <a:lnTo>
                    <a:pt x="607" y="13"/>
                  </a:lnTo>
                  <a:lnTo>
                    <a:pt x="674" y="25"/>
                  </a:lnTo>
                  <a:lnTo>
                    <a:pt x="739" y="33"/>
                  </a:lnTo>
                  <a:lnTo>
                    <a:pt x="803" y="40"/>
                  </a:lnTo>
                  <a:lnTo>
                    <a:pt x="941" y="118"/>
                  </a:lnTo>
                  <a:close/>
                </a:path>
              </a:pathLst>
            </a:custGeom>
            <a:solidFill>
              <a:srgbClr val="FFFFAD"/>
            </a:solidFill>
            <a:ln w="9525">
              <a:noFill/>
              <a:round/>
              <a:headEnd/>
              <a:tailEnd/>
            </a:ln>
          </p:spPr>
          <p:txBody>
            <a:bodyPr/>
            <a:lstStyle/>
            <a:p>
              <a:pPr>
                <a:defRPr/>
              </a:pPr>
              <a:endParaRPr lang="en-US" dirty="0">
                <a:cs typeface="+mn-cs"/>
              </a:endParaRPr>
            </a:p>
          </p:txBody>
        </p:sp>
        <p:sp>
          <p:nvSpPr>
            <p:cNvPr id="92" name="Freeform 1082"/>
            <p:cNvSpPr>
              <a:spLocks/>
            </p:cNvSpPr>
            <p:nvPr/>
          </p:nvSpPr>
          <p:spPr bwMode="auto">
            <a:xfrm>
              <a:off x="1684" y="2493"/>
              <a:ext cx="315" cy="324"/>
            </a:xfrm>
            <a:custGeom>
              <a:avLst/>
              <a:gdLst>
                <a:gd name="T0" fmla="*/ 0 w 1258"/>
                <a:gd name="T1" fmla="*/ 0 h 1293"/>
                <a:gd name="T2" fmla="*/ 0 w 1258"/>
                <a:gd name="T3" fmla="*/ 0 h 1293"/>
                <a:gd name="T4" fmla="*/ 0 w 1258"/>
                <a:gd name="T5" fmla="*/ 0 h 1293"/>
                <a:gd name="T6" fmla="*/ 0 w 1258"/>
                <a:gd name="T7" fmla="*/ 0 h 1293"/>
                <a:gd name="T8" fmla="*/ 0 w 1258"/>
                <a:gd name="T9" fmla="*/ 0 h 1293"/>
                <a:gd name="T10" fmla="*/ 0 w 1258"/>
                <a:gd name="T11" fmla="*/ 0 h 1293"/>
                <a:gd name="T12" fmla="*/ 0 w 1258"/>
                <a:gd name="T13" fmla="*/ 0 h 1293"/>
                <a:gd name="T14" fmla="*/ 0 w 1258"/>
                <a:gd name="T15" fmla="*/ 0 h 1293"/>
                <a:gd name="T16" fmla="*/ 0 w 1258"/>
                <a:gd name="T17" fmla="*/ 0 h 1293"/>
                <a:gd name="T18" fmla="*/ 0 w 1258"/>
                <a:gd name="T19" fmla="*/ 0 h 1293"/>
                <a:gd name="T20" fmla="*/ 0 w 1258"/>
                <a:gd name="T21" fmla="*/ 0 h 1293"/>
                <a:gd name="T22" fmla="*/ 0 w 1258"/>
                <a:gd name="T23" fmla="*/ 0 h 1293"/>
                <a:gd name="T24" fmla="*/ 0 w 1258"/>
                <a:gd name="T25" fmla="*/ 0 h 1293"/>
                <a:gd name="T26" fmla="*/ 0 w 1258"/>
                <a:gd name="T27" fmla="*/ 0 h 1293"/>
                <a:gd name="T28" fmla="*/ 0 w 1258"/>
                <a:gd name="T29" fmla="*/ 0 h 1293"/>
                <a:gd name="T30" fmla="*/ 0 w 1258"/>
                <a:gd name="T31" fmla="*/ 0 h 1293"/>
                <a:gd name="T32" fmla="*/ 0 w 1258"/>
                <a:gd name="T33" fmla="*/ 0 h 1293"/>
                <a:gd name="T34" fmla="*/ 0 w 1258"/>
                <a:gd name="T35" fmla="*/ 0 h 1293"/>
                <a:gd name="T36" fmla="*/ 0 w 1258"/>
                <a:gd name="T37" fmla="*/ 0 h 1293"/>
                <a:gd name="T38" fmla="*/ 0 w 1258"/>
                <a:gd name="T39" fmla="*/ 0 h 1293"/>
                <a:gd name="T40" fmla="*/ 0 w 1258"/>
                <a:gd name="T41" fmla="*/ 0 h 1293"/>
                <a:gd name="T42" fmla="*/ 0 w 1258"/>
                <a:gd name="T43" fmla="*/ 0 h 1293"/>
                <a:gd name="T44" fmla="*/ 0 w 1258"/>
                <a:gd name="T45" fmla="*/ 0 h 1293"/>
                <a:gd name="T46" fmla="*/ 0 w 1258"/>
                <a:gd name="T47" fmla="*/ 0 h 1293"/>
                <a:gd name="T48" fmla="*/ 0 w 1258"/>
                <a:gd name="T49" fmla="*/ 0 h 1293"/>
                <a:gd name="T50" fmla="*/ 0 w 1258"/>
                <a:gd name="T51" fmla="*/ 0 h 1293"/>
                <a:gd name="T52" fmla="*/ 0 w 1258"/>
                <a:gd name="T53" fmla="*/ 0 h 1293"/>
                <a:gd name="T54" fmla="*/ 0 w 1258"/>
                <a:gd name="T55" fmla="*/ 0 h 1293"/>
                <a:gd name="T56" fmla="*/ 0 w 1258"/>
                <a:gd name="T57" fmla="*/ 0 h 1293"/>
                <a:gd name="T58" fmla="*/ 0 w 1258"/>
                <a:gd name="T59" fmla="*/ 0 h 1293"/>
                <a:gd name="T60" fmla="*/ 0 w 1258"/>
                <a:gd name="T61" fmla="*/ 0 h 1293"/>
                <a:gd name="T62" fmla="*/ 0 w 1258"/>
                <a:gd name="T63" fmla="*/ 0 h 1293"/>
                <a:gd name="T64" fmla="*/ 0 w 1258"/>
                <a:gd name="T65" fmla="*/ 0 h 1293"/>
                <a:gd name="T66" fmla="*/ 0 w 1258"/>
                <a:gd name="T67" fmla="*/ 0 h 1293"/>
                <a:gd name="T68" fmla="*/ 0 w 1258"/>
                <a:gd name="T69" fmla="*/ 0 h 1293"/>
                <a:gd name="T70" fmla="*/ 0 w 1258"/>
                <a:gd name="T71" fmla="*/ 0 h 1293"/>
                <a:gd name="T72" fmla="*/ 0 w 1258"/>
                <a:gd name="T73" fmla="*/ 0 h 1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58"/>
                <a:gd name="T112" fmla="*/ 0 h 1293"/>
                <a:gd name="T113" fmla="*/ 1258 w 1258"/>
                <a:gd name="T114" fmla="*/ 1293 h 1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58" h="1293">
                  <a:moveTo>
                    <a:pt x="837" y="103"/>
                  </a:moveTo>
                  <a:lnTo>
                    <a:pt x="865" y="121"/>
                  </a:lnTo>
                  <a:lnTo>
                    <a:pt x="889" y="144"/>
                  </a:lnTo>
                  <a:lnTo>
                    <a:pt x="910" y="167"/>
                  </a:lnTo>
                  <a:lnTo>
                    <a:pt x="932" y="192"/>
                  </a:lnTo>
                  <a:lnTo>
                    <a:pt x="949" y="217"/>
                  </a:lnTo>
                  <a:lnTo>
                    <a:pt x="968" y="243"/>
                  </a:lnTo>
                  <a:lnTo>
                    <a:pt x="987" y="268"/>
                  </a:lnTo>
                  <a:lnTo>
                    <a:pt x="1011" y="292"/>
                  </a:lnTo>
                  <a:lnTo>
                    <a:pt x="1053" y="322"/>
                  </a:lnTo>
                  <a:lnTo>
                    <a:pt x="1100" y="357"/>
                  </a:lnTo>
                  <a:lnTo>
                    <a:pt x="1144" y="392"/>
                  </a:lnTo>
                  <a:lnTo>
                    <a:pt x="1187" y="431"/>
                  </a:lnTo>
                  <a:lnTo>
                    <a:pt x="1221" y="473"/>
                  </a:lnTo>
                  <a:lnTo>
                    <a:pt x="1247" y="520"/>
                  </a:lnTo>
                  <a:lnTo>
                    <a:pt x="1258" y="572"/>
                  </a:lnTo>
                  <a:lnTo>
                    <a:pt x="1256" y="630"/>
                  </a:lnTo>
                  <a:lnTo>
                    <a:pt x="1253" y="656"/>
                  </a:lnTo>
                  <a:lnTo>
                    <a:pt x="1254" y="687"/>
                  </a:lnTo>
                  <a:lnTo>
                    <a:pt x="1256" y="717"/>
                  </a:lnTo>
                  <a:lnTo>
                    <a:pt x="1257" y="749"/>
                  </a:lnTo>
                  <a:lnTo>
                    <a:pt x="1256" y="779"/>
                  </a:lnTo>
                  <a:lnTo>
                    <a:pt x="1252" y="811"/>
                  </a:lnTo>
                  <a:lnTo>
                    <a:pt x="1243" y="840"/>
                  </a:lnTo>
                  <a:lnTo>
                    <a:pt x="1228" y="870"/>
                  </a:lnTo>
                  <a:lnTo>
                    <a:pt x="1204" y="929"/>
                  </a:lnTo>
                  <a:lnTo>
                    <a:pt x="1173" y="987"/>
                  </a:lnTo>
                  <a:lnTo>
                    <a:pt x="1135" y="1042"/>
                  </a:lnTo>
                  <a:lnTo>
                    <a:pt x="1094" y="1094"/>
                  </a:lnTo>
                  <a:lnTo>
                    <a:pt x="1044" y="1140"/>
                  </a:lnTo>
                  <a:lnTo>
                    <a:pt x="992" y="1182"/>
                  </a:lnTo>
                  <a:lnTo>
                    <a:pt x="935" y="1215"/>
                  </a:lnTo>
                  <a:lnTo>
                    <a:pt x="876" y="1240"/>
                  </a:lnTo>
                  <a:lnTo>
                    <a:pt x="814" y="1270"/>
                  </a:lnTo>
                  <a:lnTo>
                    <a:pt x="752" y="1288"/>
                  </a:lnTo>
                  <a:lnTo>
                    <a:pt x="687" y="1293"/>
                  </a:lnTo>
                  <a:lnTo>
                    <a:pt x="624" y="1290"/>
                  </a:lnTo>
                  <a:lnTo>
                    <a:pt x="558" y="1282"/>
                  </a:lnTo>
                  <a:lnTo>
                    <a:pt x="494" y="1270"/>
                  </a:lnTo>
                  <a:lnTo>
                    <a:pt x="428" y="1259"/>
                  </a:lnTo>
                  <a:lnTo>
                    <a:pt x="364" y="1250"/>
                  </a:lnTo>
                  <a:lnTo>
                    <a:pt x="307" y="1212"/>
                  </a:lnTo>
                  <a:lnTo>
                    <a:pt x="253" y="1168"/>
                  </a:lnTo>
                  <a:lnTo>
                    <a:pt x="204" y="1118"/>
                  </a:lnTo>
                  <a:lnTo>
                    <a:pt x="159" y="1065"/>
                  </a:lnTo>
                  <a:lnTo>
                    <a:pt x="116" y="1008"/>
                  </a:lnTo>
                  <a:lnTo>
                    <a:pt x="78" y="949"/>
                  </a:lnTo>
                  <a:lnTo>
                    <a:pt x="45" y="888"/>
                  </a:lnTo>
                  <a:lnTo>
                    <a:pt x="18" y="829"/>
                  </a:lnTo>
                  <a:lnTo>
                    <a:pt x="5" y="744"/>
                  </a:lnTo>
                  <a:lnTo>
                    <a:pt x="0" y="660"/>
                  </a:lnTo>
                  <a:lnTo>
                    <a:pt x="3" y="576"/>
                  </a:lnTo>
                  <a:lnTo>
                    <a:pt x="14" y="493"/>
                  </a:lnTo>
                  <a:lnTo>
                    <a:pt x="32" y="411"/>
                  </a:lnTo>
                  <a:lnTo>
                    <a:pt x="57" y="334"/>
                  </a:lnTo>
                  <a:lnTo>
                    <a:pt x="91" y="258"/>
                  </a:lnTo>
                  <a:lnTo>
                    <a:pt x="133" y="187"/>
                  </a:lnTo>
                  <a:lnTo>
                    <a:pt x="148" y="168"/>
                  </a:lnTo>
                  <a:lnTo>
                    <a:pt x="165" y="150"/>
                  </a:lnTo>
                  <a:lnTo>
                    <a:pt x="181" y="131"/>
                  </a:lnTo>
                  <a:lnTo>
                    <a:pt x="198" y="115"/>
                  </a:lnTo>
                  <a:lnTo>
                    <a:pt x="213" y="96"/>
                  </a:lnTo>
                  <a:lnTo>
                    <a:pt x="229" y="78"/>
                  </a:lnTo>
                  <a:lnTo>
                    <a:pt x="245" y="59"/>
                  </a:lnTo>
                  <a:lnTo>
                    <a:pt x="261" y="40"/>
                  </a:lnTo>
                  <a:lnTo>
                    <a:pt x="313" y="16"/>
                  </a:lnTo>
                  <a:lnTo>
                    <a:pt x="367" y="4"/>
                  </a:lnTo>
                  <a:lnTo>
                    <a:pt x="424" y="0"/>
                  </a:lnTo>
                  <a:lnTo>
                    <a:pt x="482" y="4"/>
                  </a:lnTo>
                  <a:lnTo>
                    <a:pt x="541" y="10"/>
                  </a:lnTo>
                  <a:lnTo>
                    <a:pt x="600" y="20"/>
                  </a:lnTo>
                  <a:lnTo>
                    <a:pt x="657" y="28"/>
                  </a:lnTo>
                  <a:lnTo>
                    <a:pt x="715" y="34"/>
                  </a:lnTo>
                  <a:lnTo>
                    <a:pt x="837" y="103"/>
                  </a:lnTo>
                  <a:close/>
                </a:path>
              </a:pathLst>
            </a:custGeom>
            <a:solidFill>
              <a:srgbClr val="FFFFB6"/>
            </a:solidFill>
            <a:ln w="9525">
              <a:noFill/>
              <a:round/>
              <a:headEnd/>
              <a:tailEnd/>
            </a:ln>
          </p:spPr>
          <p:txBody>
            <a:bodyPr/>
            <a:lstStyle/>
            <a:p>
              <a:pPr>
                <a:defRPr/>
              </a:pPr>
              <a:endParaRPr lang="en-US" dirty="0">
                <a:cs typeface="+mn-cs"/>
              </a:endParaRPr>
            </a:p>
          </p:txBody>
        </p:sp>
        <p:sp>
          <p:nvSpPr>
            <p:cNvPr id="93" name="Freeform 1083"/>
            <p:cNvSpPr>
              <a:spLocks/>
            </p:cNvSpPr>
            <p:nvPr/>
          </p:nvSpPr>
          <p:spPr bwMode="auto">
            <a:xfrm>
              <a:off x="1704" y="2513"/>
              <a:ext cx="275" cy="283"/>
            </a:xfrm>
            <a:custGeom>
              <a:avLst/>
              <a:gdLst>
                <a:gd name="T0" fmla="*/ 0 w 1101"/>
                <a:gd name="T1" fmla="*/ 0 h 1131"/>
                <a:gd name="T2" fmla="*/ 0 w 1101"/>
                <a:gd name="T3" fmla="*/ 0 h 1131"/>
                <a:gd name="T4" fmla="*/ 0 w 1101"/>
                <a:gd name="T5" fmla="*/ 0 h 1131"/>
                <a:gd name="T6" fmla="*/ 0 w 1101"/>
                <a:gd name="T7" fmla="*/ 0 h 1131"/>
                <a:gd name="T8" fmla="*/ 0 w 1101"/>
                <a:gd name="T9" fmla="*/ 0 h 1131"/>
                <a:gd name="T10" fmla="*/ 0 w 1101"/>
                <a:gd name="T11" fmla="*/ 0 h 1131"/>
                <a:gd name="T12" fmla="*/ 0 w 1101"/>
                <a:gd name="T13" fmla="*/ 0 h 1131"/>
                <a:gd name="T14" fmla="*/ 0 w 1101"/>
                <a:gd name="T15" fmla="*/ 0 h 1131"/>
                <a:gd name="T16" fmla="*/ 0 w 1101"/>
                <a:gd name="T17" fmla="*/ 0 h 1131"/>
                <a:gd name="T18" fmla="*/ 0 w 1101"/>
                <a:gd name="T19" fmla="*/ 0 h 1131"/>
                <a:gd name="T20" fmla="*/ 0 w 1101"/>
                <a:gd name="T21" fmla="*/ 0 h 1131"/>
                <a:gd name="T22" fmla="*/ 0 w 1101"/>
                <a:gd name="T23" fmla="*/ 0 h 1131"/>
                <a:gd name="T24" fmla="*/ 0 w 1101"/>
                <a:gd name="T25" fmla="*/ 0 h 1131"/>
                <a:gd name="T26" fmla="*/ 0 w 1101"/>
                <a:gd name="T27" fmla="*/ 0 h 1131"/>
                <a:gd name="T28" fmla="*/ 0 w 1101"/>
                <a:gd name="T29" fmla="*/ 0 h 1131"/>
                <a:gd name="T30" fmla="*/ 0 w 1101"/>
                <a:gd name="T31" fmla="*/ 0 h 1131"/>
                <a:gd name="T32" fmla="*/ 0 w 1101"/>
                <a:gd name="T33" fmla="*/ 0 h 1131"/>
                <a:gd name="T34" fmla="*/ 0 w 1101"/>
                <a:gd name="T35" fmla="*/ 0 h 1131"/>
                <a:gd name="T36" fmla="*/ 0 w 1101"/>
                <a:gd name="T37" fmla="*/ 0 h 1131"/>
                <a:gd name="T38" fmla="*/ 0 w 1101"/>
                <a:gd name="T39" fmla="*/ 0 h 1131"/>
                <a:gd name="T40" fmla="*/ 0 w 1101"/>
                <a:gd name="T41" fmla="*/ 0 h 1131"/>
                <a:gd name="T42" fmla="*/ 0 w 1101"/>
                <a:gd name="T43" fmla="*/ 0 h 1131"/>
                <a:gd name="T44" fmla="*/ 0 w 1101"/>
                <a:gd name="T45" fmla="*/ 0 h 1131"/>
                <a:gd name="T46" fmla="*/ 0 w 1101"/>
                <a:gd name="T47" fmla="*/ 0 h 1131"/>
                <a:gd name="T48" fmla="*/ 0 w 1101"/>
                <a:gd name="T49" fmla="*/ 0 h 1131"/>
                <a:gd name="T50" fmla="*/ 0 w 1101"/>
                <a:gd name="T51" fmla="*/ 0 h 1131"/>
                <a:gd name="T52" fmla="*/ 0 w 1101"/>
                <a:gd name="T53" fmla="*/ 0 h 1131"/>
                <a:gd name="T54" fmla="*/ 0 w 1101"/>
                <a:gd name="T55" fmla="*/ 0 h 1131"/>
                <a:gd name="T56" fmla="*/ 0 w 1101"/>
                <a:gd name="T57" fmla="*/ 0 h 1131"/>
                <a:gd name="T58" fmla="*/ 0 w 1101"/>
                <a:gd name="T59" fmla="*/ 0 h 1131"/>
                <a:gd name="T60" fmla="*/ 0 w 1101"/>
                <a:gd name="T61" fmla="*/ 0 h 1131"/>
                <a:gd name="T62" fmla="*/ 0 w 1101"/>
                <a:gd name="T63" fmla="*/ 0 h 1131"/>
                <a:gd name="T64" fmla="*/ 0 w 1101"/>
                <a:gd name="T65" fmla="*/ 0 h 1131"/>
                <a:gd name="T66" fmla="*/ 0 w 1101"/>
                <a:gd name="T67" fmla="*/ 0 h 1131"/>
                <a:gd name="T68" fmla="*/ 0 w 1101"/>
                <a:gd name="T69" fmla="*/ 0 h 1131"/>
                <a:gd name="T70" fmla="*/ 0 w 1101"/>
                <a:gd name="T71" fmla="*/ 0 h 1131"/>
                <a:gd name="T72" fmla="*/ 0 w 1101"/>
                <a:gd name="T73" fmla="*/ 0 h 113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01"/>
                <a:gd name="T112" fmla="*/ 0 h 1131"/>
                <a:gd name="T113" fmla="*/ 1101 w 1101"/>
                <a:gd name="T114" fmla="*/ 1131 h 113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01" h="1131">
                  <a:moveTo>
                    <a:pt x="732" y="90"/>
                  </a:moveTo>
                  <a:lnTo>
                    <a:pt x="756" y="106"/>
                  </a:lnTo>
                  <a:lnTo>
                    <a:pt x="778" y="125"/>
                  </a:lnTo>
                  <a:lnTo>
                    <a:pt x="796" y="145"/>
                  </a:lnTo>
                  <a:lnTo>
                    <a:pt x="815" y="168"/>
                  </a:lnTo>
                  <a:lnTo>
                    <a:pt x="830" y="190"/>
                  </a:lnTo>
                  <a:lnTo>
                    <a:pt x="848" y="212"/>
                  </a:lnTo>
                  <a:lnTo>
                    <a:pt x="865" y="234"/>
                  </a:lnTo>
                  <a:lnTo>
                    <a:pt x="886" y="255"/>
                  </a:lnTo>
                  <a:lnTo>
                    <a:pt x="921" y="282"/>
                  </a:lnTo>
                  <a:lnTo>
                    <a:pt x="961" y="312"/>
                  </a:lnTo>
                  <a:lnTo>
                    <a:pt x="1001" y="343"/>
                  </a:lnTo>
                  <a:lnTo>
                    <a:pt x="1037" y="378"/>
                  </a:lnTo>
                  <a:lnTo>
                    <a:pt x="1068" y="414"/>
                  </a:lnTo>
                  <a:lnTo>
                    <a:pt x="1090" y="455"/>
                  </a:lnTo>
                  <a:lnTo>
                    <a:pt x="1101" y="501"/>
                  </a:lnTo>
                  <a:lnTo>
                    <a:pt x="1098" y="551"/>
                  </a:lnTo>
                  <a:lnTo>
                    <a:pt x="1096" y="574"/>
                  </a:lnTo>
                  <a:lnTo>
                    <a:pt x="1097" y="601"/>
                  </a:lnTo>
                  <a:lnTo>
                    <a:pt x="1098" y="627"/>
                  </a:lnTo>
                  <a:lnTo>
                    <a:pt x="1099" y="655"/>
                  </a:lnTo>
                  <a:lnTo>
                    <a:pt x="1098" y="682"/>
                  </a:lnTo>
                  <a:lnTo>
                    <a:pt x="1096" y="710"/>
                  </a:lnTo>
                  <a:lnTo>
                    <a:pt x="1087" y="735"/>
                  </a:lnTo>
                  <a:lnTo>
                    <a:pt x="1074" y="762"/>
                  </a:lnTo>
                  <a:lnTo>
                    <a:pt x="1051" y="812"/>
                  </a:lnTo>
                  <a:lnTo>
                    <a:pt x="1026" y="863"/>
                  </a:lnTo>
                  <a:lnTo>
                    <a:pt x="992" y="911"/>
                  </a:lnTo>
                  <a:lnTo>
                    <a:pt x="955" y="958"/>
                  </a:lnTo>
                  <a:lnTo>
                    <a:pt x="912" y="997"/>
                  </a:lnTo>
                  <a:lnTo>
                    <a:pt x="867" y="1034"/>
                  </a:lnTo>
                  <a:lnTo>
                    <a:pt x="817" y="1063"/>
                  </a:lnTo>
                  <a:lnTo>
                    <a:pt x="765" y="1085"/>
                  </a:lnTo>
                  <a:lnTo>
                    <a:pt x="711" y="1111"/>
                  </a:lnTo>
                  <a:lnTo>
                    <a:pt x="657" y="1126"/>
                  </a:lnTo>
                  <a:lnTo>
                    <a:pt x="601" y="1131"/>
                  </a:lnTo>
                  <a:lnTo>
                    <a:pt x="545" y="1130"/>
                  </a:lnTo>
                  <a:lnTo>
                    <a:pt x="488" y="1122"/>
                  </a:lnTo>
                  <a:lnTo>
                    <a:pt x="431" y="1112"/>
                  </a:lnTo>
                  <a:lnTo>
                    <a:pt x="374" y="1102"/>
                  </a:lnTo>
                  <a:lnTo>
                    <a:pt x="317" y="1094"/>
                  </a:lnTo>
                  <a:lnTo>
                    <a:pt x="267" y="1060"/>
                  </a:lnTo>
                  <a:lnTo>
                    <a:pt x="221" y="1022"/>
                  </a:lnTo>
                  <a:lnTo>
                    <a:pt x="177" y="979"/>
                  </a:lnTo>
                  <a:lnTo>
                    <a:pt x="138" y="932"/>
                  </a:lnTo>
                  <a:lnTo>
                    <a:pt x="100" y="882"/>
                  </a:lnTo>
                  <a:lnTo>
                    <a:pt x="67" y="830"/>
                  </a:lnTo>
                  <a:lnTo>
                    <a:pt x="38" y="777"/>
                  </a:lnTo>
                  <a:lnTo>
                    <a:pt x="15" y="725"/>
                  </a:lnTo>
                  <a:lnTo>
                    <a:pt x="4" y="650"/>
                  </a:lnTo>
                  <a:lnTo>
                    <a:pt x="0" y="577"/>
                  </a:lnTo>
                  <a:lnTo>
                    <a:pt x="1" y="503"/>
                  </a:lnTo>
                  <a:lnTo>
                    <a:pt x="11" y="431"/>
                  </a:lnTo>
                  <a:lnTo>
                    <a:pt x="26" y="359"/>
                  </a:lnTo>
                  <a:lnTo>
                    <a:pt x="50" y="291"/>
                  </a:lnTo>
                  <a:lnTo>
                    <a:pt x="80" y="225"/>
                  </a:lnTo>
                  <a:lnTo>
                    <a:pt x="116" y="163"/>
                  </a:lnTo>
                  <a:lnTo>
                    <a:pt x="130" y="147"/>
                  </a:lnTo>
                  <a:lnTo>
                    <a:pt x="144" y="130"/>
                  </a:lnTo>
                  <a:lnTo>
                    <a:pt x="158" y="115"/>
                  </a:lnTo>
                  <a:lnTo>
                    <a:pt x="172" y="100"/>
                  </a:lnTo>
                  <a:lnTo>
                    <a:pt x="186" y="83"/>
                  </a:lnTo>
                  <a:lnTo>
                    <a:pt x="200" y="67"/>
                  </a:lnTo>
                  <a:lnTo>
                    <a:pt x="214" y="50"/>
                  </a:lnTo>
                  <a:lnTo>
                    <a:pt x="229" y="35"/>
                  </a:lnTo>
                  <a:lnTo>
                    <a:pt x="273" y="14"/>
                  </a:lnTo>
                  <a:lnTo>
                    <a:pt x="321" y="2"/>
                  </a:lnTo>
                  <a:lnTo>
                    <a:pt x="371" y="0"/>
                  </a:lnTo>
                  <a:lnTo>
                    <a:pt x="422" y="4"/>
                  </a:lnTo>
                  <a:lnTo>
                    <a:pt x="473" y="9"/>
                  </a:lnTo>
                  <a:lnTo>
                    <a:pt x="525" y="17"/>
                  </a:lnTo>
                  <a:lnTo>
                    <a:pt x="574" y="24"/>
                  </a:lnTo>
                  <a:lnTo>
                    <a:pt x="625" y="30"/>
                  </a:lnTo>
                  <a:lnTo>
                    <a:pt x="732" y="90"/>
                  </a:lnTo>
                  <a:close/>
                </a:path>
              </a:pathLst>
            </a:custGeom>
            <a:solidFill>
              <a:srgbClr val="FFFFBF"/>
            </a:solidFill>
            <a:ln w="9525">
              <a:noFill/>
              <a:round/>
              <a:headEnd/>
              <a:tailEnd/>
            </a:ln>
          </p:spPr>
          <p:txBody>
            <a:bodyPr/>
            <a:lstStyle/>
            <a:p>
              <a:pPr>
                <a:defRPr/>
              </a:pPr>
              <a:endParaRPr lang="en-US" dirty="0">
                <a:cs typeface="+mn-cs"/>
              </a:endParaRPr>
            </a:p>
          </p:txBody>
        </p:sp>
        <p:sp>
          <p:nvSpPr>
            <p:cNvPr id="94" name="Freeform 1084"/>
            <p:cNvSpPr>
              <a:spLocks/>
            </p:cNvSpPr>
            <p:nvPr/>
          </p:nvSpPr>
          <p:spPr bwMode="auto">
            <a:xfrm>
              <a:off x="2044" y="2462"/>
              <a:ext cx="370" cy="483"/>
            </a:xfrm>
            <a:custGeom>
              <a:avLst/>
              <a:gdLst>
                <a:gd name="T0" fmla="*/ 0 w 1481"/>
                <a:gd name="T1" fmla="*/ 0 h 1933"/>
                <a:gd name="T2" fmla="*/ 0 w 1481"/>
                <a:gd name="T3" fmla="*/ 0 h 1933"/>
                <a:gd name="T4" fmla="*/ 0 w 1481"/>
                <a:gd name="T5" fmla="*/ 0 h 1933"/>
                <a:gd name="T6" fmla="*/ 0 w 1481"/>
                <a:gd name="T7" fmla="*/ 0 h 1933"/>
                <a:gd name="T8" fmla="*/ 0 w 1481"/>
                <a:gd name="T9" fmla="*/ 0 h 1933"/>
                <a:gd name="T10" fmla="*/ 0 w 1481"/>
                <a:gd name="T11" fmla="*/ 0 h 1933"/>
                <a:gd name="T12" fmla="*/ 0 w 1481"/>
                <a:gd name="T13" fmla="*/ 0 h 1933"/>
                <a:gd name="T14" fmla="*/ 0 w 1481"/>
                <a:gd name="T15" fmla="*/ 0 h 1933"/>
                <a:gd name="T16" fmla="*/ 0 w 1481"/>
                <a:gd name="T17" fmla="*/ 0 h 1933"/>
                <a:gd name="T18" fmla="*/ 0 w 1481"/>
                <a:gd name="T19" fmla="*/ 0 h 1933"/>
                <a:gd name="T20" fmla="*/ 0 w 1481"/>
                <a:gd name="T21" fmla="*/ 0 h 1933"/>
                <a:gd name="T22" fmla="*/ 0 w 1481"/>
                <a:gd name="T23" fmla="*/ 0 h 1933"/>
                <a:gd name="T24" fmla="*/ 0 w 1481"/>
                <a:gd name="T25" fmla="*/ 0 h 1933"/>
                <a:gd name="T26" fmla="*/ 0 w 1481"/>
                <a:gd name="T27" fmla="*/ 0 h 1933"/>
                <a:gd name="T28" fmla="*/ 0 w 1481"/>
                <a:gd name="T29" fmla="*/ 0 h 1933"/>
                <a:gd name="T30" fmla="*/ 0 w 1481"/>
                <a:gd name="T31" fmla="*/ 0 h 1933"/>
                <a:gd name="T32" fmla="*/ 0 w 1481"/>
                <a:gd name="T33" fmla="*/ 0 h 1933"/>
                <a:gd name="T34" fmla="*/ 0 w 1481"/>
                <a:gd name="T35" fmla="*/ 0 h 1933"/>
                <a:gd name="T36" fmla="*/ 0 w 1481"/>
                <a:gd name="T37" fmla="*/ 0 h 1933"/>
                <a:gd name="T38" fmla="*/ 0 w 1481"/>
                <a:gd name="T39" fmla="*/ 0 h 1933"/>
                <a:gd name="T40" fmla="*/ 0 w 1481"/>
                <a:gd name="T41" fmla="*/ 0 h 1933"/>
                <a:gd name="T42" fmla="*/ 0 w 1481"/>
                <a:gd name="T43" fmla="*/ 0 h 1933"/>
                <a:gd name="T44" fmla="*/ 0 w 1481"/>
                <a:gd name="T45" fmla="*/ 0 h 1933"/>
                <a:gd name="T46" fmla="*/ 0 w 1481"/>
                <a:gd name="T47" fmla="*/ 0 h 1933"/>
                <a:gd name="T48" fmla="*/ 0 w 1481"/>
                <a:gd name="T49" fmla="*/ 0 h 1933"/>
                <a:gd name="T50" fmla="*/ 0 w 1481"/>
                <a:gd name="T51" fmla="*/ 0 h 1933"/>
                <a:gd name="T52" fmla="*/ 0 w 1481"/>
                <a:gd name="T53" fmla="*/ 0 h 1933"/>
                <a:gd name="T54" fmla="*/ 0 w 1481"/>
                <a:gd name="T55" fmla="*/ 0 h 1933"/>
                <a:gd name="T56" fmla="*/ 0 w 1481"/>
                <a:gd name="T57" fmla="*/ 0 h 1933"/>
                <a:gd name="T58" fmla="*/ 0 w 1481"/>
                <a:gd name="T59" fmla="*/ 0 h 1933"/>
                <a:gd name="T60" fmla="*/ 0 w 1481"/>
                <a:gd name="T61" fmla="*/ 0 h 1933"/>
                <a:gd name="T62" fmla="*/ 0 w 1481"/>
                <a:gd name="T63" fmla="*/ 0 h 1933"/>
                <a:gd name="T64" fmla="*/ 0 w 1481"/>
                <a:gd name="T65" fmla="*/ 0 h 1933"/>
                <a:gd name="T66" fmla="*/ 0 w 1481"/>
                <a:gd name="T67" fmla="*/ 0 h 1933"/>
                <a:gd name="T68" fmla="*/ 0 w 1481"/>
                <a:gd name="T69" fmla="*/ 0 h 1933"/>
                <a:gd name="T70" fmla="*/ 0 w 1481"/>
                <a:gd name="T71" fmla="*/ 0 h 1933"/>
                <a:gd name="T72" fmla="*/ 0 w 1481"/>
                <a:gd name="T73" fmla="*/ 0 h 1933"/>
                <a:gd name="T74" fmla="*/ 0 w 1481"/>
                <a:gd name="T75" fmla="*/ 0 h 1933"/>
                <a:gd name="T76" fmla="*/ 0 w 1481"/>
                <a:gd name="T77" fmla="*/ 0 h 1933"/>
                <a:gd name="T78" fmla="*/ 0 w 1481"/>
                <a:gd name="T79" fmla="*/ 0 h 1933"/>
                <a:gd name="T80" fmla="*/ 0 w 1481"/>
                <a:gd name="T81" fmla="*/ 0 h 1933"/>
                <a:gd name="T82" fmla="*/ 0 w 1481"/>
                <a:gd name="T83" fmla="*/ 0 h 1933"/>
                <a:gd name="T84" fmla="*/ 0 w 1481"/>
                <a:gd name="T85" fmla="*/ 0 h 1933"/>
                <a:gd name="T86" fmla="*/ 0 w 1481"/>
                <a:gd name="T87" fmla="*/ 0 h 1933"/>
                <a:gd name="T88" fmla="*/ 0 w 1481"/>
                <a:gd name="T89" fmla="*/ 0 h 1933"/>
                <a:gd name="T90" fmla="*/ 0 w 1481"/>
                <a:gd name="T91" fmla="*/ 0 h 1933"/>
                <a:gd name="T92" fmla="*/ 0 w 1481"/>
                <a:gd name="T93" fmla="*/ 0 h 1933"/>
                <a:gd name="T94" fmla="*/ 0 w 1481"/>
                <a:gd name="T95" fmla="*/ 0 h 1933"/>
                <a:gd name="T96" fmla="*/ 0 w 1481"/>
                <a:gd name="T97" fmla="*/ 0 h 1933"/>
                <a:gd name="T98" fmla="*/ 0 w 1481"/>
                <a:gd name="T99" fmla="*/ 0 h 1933"/>
                <a:gd name="T100" fmla="*/ 0 w 1481"/>
                <a:gd name="T101" fmla="*/ 0 h 1933"/>
                <a:gd name="T102" fmla="*/ 0 w 1481"/>
                <a:gd name="T103" fmla="*/ 0 h 1933"/>
                <a:gd name="T104" fmla="*/ 0 w 1481"/>
                <a:gd name="T105" fmla="*/ 0 h 19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81"/>
                <a:gd name="T160" fmla="*/ 0 h 1933"/>
                <a:gd name="T161" fmla="*/ 1481 w 1481"/>
                <a:gd name="T162" fmla="*/ 1933 h 19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81" h="1933">
                  <a:moveTo>
                    <a:pt x="1081" y="52"/>
                  </a:moveTo>
                  <a:lnTo>
                    <a:pt x="1095" y="87"/>
                  </a:lnTo>
                  <a:lnTo>
                    <a:pt x="1113" y="122"/>
                  </a:lnTo>
                  <a:lnTo>
                    <a:pt x="1135" y="157"/>
                  </a:lnTo>
                  <a:lnTo>
                    <a:pt x="1159" y="193"/>
                  </a:lnTo>
                  <a:lnTo>
                    <a:pt x="1184" y="226"/>
                  </a:lnTo>
                  <a:lnTo>
                    <a:pt x="1213" y="257"/>
                  </a:lnTo>
                  <a:lnTo>
                    <a:pt x="1241" y="288"/>
                  </a:lnTo>
                  <a:lnTo>
                    <a:pt x="1271" y="316"/>
                  </a:lnTo>
                  <a:lnTo>
                    <a:pt x="1303" y="364"/>
                  </a:lnTo>
                  <a:lnTo>
                    <a:pt x="1335" y="413"/>
                  </a:lnTo>
                  <a:lnTo>
                    <a:pt x="1361" y="465"/>
                  </a:lnTo>
                  <a:lnTo>
                    <a:pt x="1385" y="519"/>
                  </a:lnTo>
                  <a:lnTo>
                    <a:pt x="1400" y="574"/>
                  </a:lnTo>
                  <a:lnTo>
                    <a:pt x="1410" y="631"/>
                  </a:lnTo>
                  <a:lnTo>
                    <a:pt x="1409" y="689"/>
                  </a:lnTo>
                  <a:lnTo>
                    <a:pt x="1399" y="750"/>
                  </a:lnTo>
                  <a:lnTo>
                    <a:pt x="1442" y="777"/>
                  </a:lnTo>
                  <a:lnTo>
                    <a:pt x="1418" y="774"/>
                  </a:lnTo>
                  <a:lnTo>
                    <a:pt x="1404" y="779"/>
                  </a:lnTo>
                  <a:lnTo>
                    <a:pt x="1397" y="789"/>
                  </a:lnTo>
                  <a:lnTo>
                    <a:pt x="1393" y="803"/>
                  </a:lnTo>
                  <a:lnTo>
                    <a:pt x="1389" y="819"/>
                  </a:lnTo>
                  <a:lnTo>
                    <a:pt x="1386" y="836"/>
                  </a:lnTo>
                  <a:lnTo>
                    <a:pt x="1381" y="851"/>
                  </a:lnTo>
                  <a:lnTo>
                    <a:pt x="1374" y="863"/>
                  </a:lnTo>
                  <a:lnTo>
                    <a:pt x="1365" y="928"/>
                  </a:lnTo>
                  <a:lnTo>
                    <a:pt x="1367" y="990"/>
                  </a:lnTo>
                  <a:lnTo>
                    <a:pt x="1378" y="1048"/>
                  </a:lnTo>
                  <a:lnTo>
                    <a:pt x="1391" y="1106"/>
                  </a:lnTo>
                  <a:lnTo>
                    <a:pt x="1407" y="1162"/>
                  </a:lnTo>
                  <a:lnTo>
                    <a:pt x="1422" y="1220"/>
                  </a:lnTo>
                  <a:lnTo>
                    <a:pt x="1434" y="1279"/>
                  </a:lnTo>
                  <a:lnTo>
                    <a:pt x="1442" y="1341"/>
                  </a:lnTo>
                  <a:lnTo>
                    <a:pt x="1452" y="1362"/>
                  </a:lnTo>
                  <a:lnTo>
                    <a:pt x="1462" y="1385"/>
                  </a:lnTo>
                  <a:lnTo>
                    <a:pt x="1469" y="1405"/>
                  </a:lnTo>
                  <a:lnTo>
                    <a:pt x="1476" y="1427"/>
                  </a:lnTo>
                  <a:lnTo>
                    <a:pt x="1479" y="1447"/>
                  </a:lnTo>
                  <a:lnTo>
                    <a:pt x="1481" y="1470"/>
                  </a:lnTo>
                  <a:lnTo>
                    <a:pt x="1480" y="1492"/>
                  </a:lnTo>
                  <a:lnTo>
                    <a:pt x="1478" y="1518"/>
                  </a:lnTo>
                  <a:lnTo>
                    <a:pt x="1442" y="1556"/>
                  </a:lnTo>
                  <a:lnTo>
                    <a:pt x="1408" y="1594"/>
                  </a:lnTo>
                  <a:lnTo>
                    <a:pt x="1371" y="1628"/>
                  </a:lnTo>
                  <a:lnTo>
                    <a:pt x="1335" y="1662"/>
                  </a:lnTo>
                  <a:lnTo>
                    <a:pt x="1295" y="1691"/>
                  </a:lnTo>
                  <a:lnTo>
                    <a:pt x="1257" y="1719"/>
                  </a:lnTo>
                  <a:lnTo>
                    <a:pt x="1218" y="1743"/>
                  </a:lnTo>
                  <a:lnTo>
                    <a:pt x="1178" y="1767"/>
                  </a:lnTo>
                  <a:lnTo>
                    <a:pt x="1151" y="1768"/>
                  </a:lnTo>
                  <a:lnTo>
                    <a:pt x="1130" y="1777"/>
                  </a:lnTo>
                  <a:lnTo>
                    <a:pt x="1108" y="1790"/>
                  </a:lnTo>
                  <a:lnTo>
                    <a:pt x="1089" y="1808"/>
                  </a:lnTo>
                  <a:lnTo>
                    <a:pt x="1069" y="1824"/>
                  </a:lnTo>
                  <a:lnTo>
                    <a:pt x="1050" y="1839"/>
                  </a:lnTo>
                  <a:lnTo>
                    <a:pt x="1028" y="1852"/>
                  </a:lnTo>
                  <a:lnTo>
                    <a:pt x="1007" y="1859"/>
                  </a:lnTo>
                  <a:lnTo>
                    <a:pt x="877" y="1909"/>
                  </a:lnTo>
                  <a:lnTo>
                    <a:pt x="742" y="1933"/>
                  </a:lnTo>
                  <a:lnTo>
                    <a:pt x="607" y="1933"/>
                  </a:lnTo>
                  <a:lnTo>
                    <a:pt x="474" y="1914"/>
                  </a:lnTo>
                  <a:lnTo>
                    <a:pt x="343" y="1875"/>
                  </a:lnTo>
                  <a:lnTo>
                    <a:pt x="220" y="1823"/>
                  </a:lnTo>
                  <a:lnTo>
                    <a:pt x="103" y="1757"/>
                  </a:lnTo>
                  <a:lnTo>
                    <a:pt x="0" y="1682"/>
                  </a:lnTo>
                  <a:lnTo>
                    <a:pt x="54" y="1630"/>
                  </a:lnTo>
                  <a:lnTo>
                    <a:pt x="106" y="1578"/>
                  </a:lnTo>
                  <a:lnTo>
                    <a:pt x="155" y="1523"/>
                  </a:lnTo>
                  <a:lnTo>
                    <a:pt x="201" y="1466"/>
                  </a:lnTo>
                  <a:lnTo>
                    <a:pt x="241" y="1405"/>
                  </a:lnTo>
                  <a:lnTo>
                    <a:pt x="277" y="1343"/>
                  </a:lnTo>
                  <a:lnTo>
                    <a:pt x="307" y="1279"/>
                  </a:lnTo>
                  <a:lnTo>
                    <a:pt x="331" y="1213"/>
                  </a:lnTo>
                  <a:lnTo>
                    <a:pt x="349" y="1186"/>
                  </a:lnTo>
                  <a:lnTo>
                    <a:pt x="365" y="1157"/>
                  </a:lnTo>
                  <a:lnTo>
                    <a:pt x="377" y="1127"/>
                  </a:lnTo>
                  <a:lnTo>
                    <a:pt x="388" y="1095"/>
                  </a:lnTo>
                  <a:lnTo>
                    <a:pt x="397" y="1061"/>
                  </a:lnTo>
                  <a:lnTo>
                    <a:pt x="406" y="1028"/>
                  </a:lnTo>
                  <a:lnTo>
                    <a:pt x="415" y="995"/>
                  </a:lnTo>
                  <a:lnTo>
                    <a:pt x="427" y="963"/>
                  </a:lnTo>
                  <a:lnTo>
                    <a:pt x="444" y="905"/>
                  </a:lnTo>
                  <a:lnTo>
                    <a:pt x="454" y="847"/>
                  </a:lnTo>
                  <a:lnTo>
                    <a:pt x="459" y="785"/>
                  </a:lnTo>
                  <a:lnTo>
                    <a:pt x="462" y="724"/>
                  </a:lnTo>
                  <a:lnTo>
                    <a:pt x="459" y="661"/>
                  </a:lnTo>
                  <a:lnTo>
                    <a:pt x="458" y="600"/>
                  </a:lnTo>
                  <a:lnTo>
                    <a:pt x="456" y="538"/>
                  </a:lnTo>
                  <a:lnTo>
                    <a:pt x="459" y="479"/>
                  </a:lnTo>
                  <a:lnTo>
                    <a:pt x="456" y="421"/>
                  </a:lnTo>
                  <a:lnTo>
                    <a:pt x="449" y="366"/>
                  </a:lnTo>
                  <a:lnTo>
                    <a:pt x="435" y="312"/>
                  </a:lnTo>
                  <a:lnTo>
                    <a:pt x="420" y="260"/>
                  </a:lnTo>
                  <a:lnTo>
                    <a:pt x="405" y="207"/>
                  </a:lnTo>
                  <a:lnTo>
                    <a:pt x="392" y="157"/>
                  </a:lnTo>
                  <a:lnTo>
                    <a:pt x="384" y="108"/>
                  </a:lnTo>
                  <a:lnTo>
                    <a:pt x="384" y="59"/>
                  </a:lnTo>
                  <a:lnTo>
                    <a:pt x="463" y="31"/>
                  </a:lnTo>
                  <a:lnTo>
                    <a:pt x="548" y="12"/>
                  </a:lnTo>
                  <a:lnTo>
                    <a:pt x="635" y="2"/>
                  </a:lnTo>
                  <a:lnTo>
                    <a:pt x="726" y="0"/>
                  </a:lnTo>
                  <a:lnTo>
                    <a:pt x="816" y="3"/>
                  </a:lnTo>
                  <a:lnTo>
                    <a:pt x="906" y="14"/>
                  </a:lnTo>
                  <a:lnTo>
                    <a:pt x="994" y="31"/>
                  </a:lnTo>
                  <a:lnTo>
                    <a:pt x="1081" y="52"/>
                  </a:lnTo>
                  <a:close/>
                </a:path>
              </a:pathLst>
            </a:custGeom>
            <a:solidFill>
              <a:srgbClr val="FFFF80"/>
            </a:solidFill>
            <a:ln w="9525">
              <a:noFill/>
              <a:round/>
              <a:headEnd/>
              <a:tailEnd/>
            </a:ln>
          </p:spPr>
          <p:txBody>
            <a:bodyPr/>
            <a:lstStyle/>
            <a:p>
              <a:pPr>
                <a:defRPr/>
              </a:pPr>
              <a:endParaRPr lang="en-US" dirty="0">
                <a:cs typeface="+mn-cs"/>
              </a:endParaRPr>
            </a:p>
          </p:txBody>
        </p:sp>
        <p:sp>
          <p:nvSpPr>
            <p:cNvPr id="95" name="Freeform 1085"/>
            <p:cNvSpPr>
              <a:spLocks/>
            </p:cNvSpPr>
            <p:nvPr/>
          </p:nvSpPr>
          <p:spPr bwMode="auto">
            <a:xfrm>
              <a:off x="2057" y="2479"/>
              <a:ext cx="344" cy="449"/>
            </a:xfrm>
            <a:custGeom>
              <a:avLst/>
              <a:gdLst>
                <a:gd name="T0" fmla="*/ 0 w 1375"/>
                <a:gd name="T1" fmla="*/ 0 h 1795"/>
                <a:gd name="T2" fmla="*/ 0 w 1375"/>
                <a:gd name="T3" fmla="*/ 0 h 1795"/>
                <a:gd name="T4" fmla="*/ 0 w 1375"/>
                <a:gd name="T5" fmla="*/ 0 h 1795"/>
                <a:gd name="T6" fmla="*/ 0 w 1375"/>
                <a:gd name="T7" fmla="*/ 0 h 1795"/>
                <a:gd name="T8" fmla="*/ 0 w 1375"/>
                <a:gd name="T9" fmla="*/ 0 h 1795"/>
                <a:gd name="T10" fmla="*/ 0 w 1375"/>
                <a:gd name="T11" fmla="*/ 0 h 1795"/>
                <a:gd name="T12" fmla="*/ 0 w 1375"/>
                <a:gd name="T13" fmla="*/ 0 h 1795"/>
                <a:gd name="T14" fmla="*/ 0 w 1375"/>
                <a:gd name="T15" fmla="*/ 0 h 1795"/>
                <a:gd name="T16" fmla="*/ 0 w 1375"/>
                <a:gd name="T17" fmla="*/ 0 h 1795"/>
                <a:gd name="T18" fmla="*/ 0 w 1375"/>
                <a:gd name="T19" fmla="*/ 0 h 1795"/>
                <a:gd name="T20" fmla="*/ 0 w 1375"/>
                <a:gd name="T21" fmla="*/ 0 h 1795"/>
                <a:gd name="T22" fmla="*/ 0 w 1375"/>
                <a:gd name="T23" fmla="*/ 0 h 1795"/>
                <a:gd name="T24" fmla="*/ 0 w 1375"/>
                <a:gd name="T25" fmla="*/ 0 h 1795"/>
                <a:gd name="T26" fmla="*/ 0 w 1375"/>
                <a:gd name="T27" fmla="*/ 0 h 1795"/>
                <a:gd name="T28" fmla="*/ 0 w 1375"/>
                <a:gd name="T29" fmla="*/ 0 h 1795"/>
                <a:gd name="T30" fmla="*/ 0 w 1375"/>
                <a:gd name="T31" fmla="*/ 0 h 1795"/>
                <a:gd name="T32" fmla="*/ 0 w 1375"/>
                <a:gd name="T33" fmla="*/ 0 h 1795"/>
                <a:gd name="T34" fmla="*/ 0 w 1375"/>
                <a:gd name="T35" fmla="*/ 0 h 1795"/>
                <a:gd name="T36" fmla="*/ 0 w 1375"/>
                <a:gd name="T37" fmla="*/ 0 h 1795"/>
                <a:gd name="T38" fmla="*/ 0 w 1375"/>
                <a:gd name="T39" fmla="*/ 0 h 1795"/>
                <a:gd name="T40" fmla="*/ 0 w 1375"/>
                <a:gd name="T41" fmla="*/ 0 h 1795"/>
                <a:gd name="T42" fmla="*/ 0 w 1375"/>
                <a:gd name="T43" fmla="*/ 0 h 1795"/>
                <a:gd name="T44" fmla="*/ 0 w 1375"/>
                <a:gd name="T45" fmla="*/ 0 h 1795"/>
                <a:gd name="T46" fmla="*/ 0 w 1375"/>
                <a:gd name="T47" fmla="*/ 0 h 1795"/>
                <a:gd name="T48" fmla="*/ 0 w 1375"/>
                <a:gd name="T49" fmla="*/ 0 h 1795"/>
                <a:gd name="T50" fmla="*/ 0 w 1375"/>
                <a:gd name="T51" fmla="*/ 0 h 1795"/>
                <a:gd name="T52" fmla="*/ 0 w 1375"/>
                <a:gd name="T53" fmla="*/ 0 h 1795"/>
                <a:gd name="T54" fmla="*/ 0 w 1375"/>
                <a:gd name="T55" fmla="*/ 0 h 1795"/>
                <a:gd name="T56" fmla="*/ 0 w 1375"/>
                <a:gd name="T57" fmla="*/ 0 h 1795"/>
                <a:gd name="T58" fmla="*/ 0 w 1375"/>
                <a:gd name="T59" fmla="*/ 0 h 1795"/>
                <a:gd name="T60" fmla="*/ 0 w 1375"/>
                <a:gd name="T61" fmla="*/ 0 h 1795"/>
                <a:gd name="T62" fmla="*/ 0 w 1375"/>
                <a:gd name="T63" fmla="*/ 0 h 1795"/>
                <a:gd name="T64" fmla="*/ 0 w 1375"/>
                <a:gd name="T65" fmla="*/ 0 h 1795"/>
                <a:gd name="T66" fmla="*/ 0 w 1375"/>
                <a:gd name="T67" fmla="*/ 0 h 1795"/>
                <a:gd name="T68" fmla="*/ 0 w 1375"/>
                <a:gd name="T69" fmla="*/ 0 h 1795"/>
                <a:gd name="T70" fmla="*/ 0 w 1375"/>
                <a:gd name="T71" fmla="*/ 0 h 1795"/>
                <a:gd name="T72" fmla="*/ 0 w 1375"/>
                <a:gd name="T73" fmla="*/ 0 h 1795"/>
                <a:gd name="T74" fmla="*/ 0 w 1375"/>
                <a:gd name="T75" fmla="*/ 0 h 1795"/>
                <a:gd name="T76" fmla="*/ 0 w 1375"/>
                <a:gd name="T77" fmla="*/ 0 h 1795"/>
                <a:gd name="T78" fmla="*/ 0 w 1375"/>
                <a:gd name="T79" fmla="*/ 0 h 1795"/>
                <a:gd name="T80" fmla="*/ 0 w 1375"/>
                <a:gd name="T81" fmla="*/ 0 h 1795"/>
                <a:gd name="T82" fmla="*/ 0 w 1375"/>
                <a:gd name="T83" fmla="*/ 0 h 1795"/>
                <a:gd name="T84" fmla="*/ 0 w 1375"/>
                <a:gd name="T85" fmla="*/ 0 h 1795"/>
                <a:gd name="T86" fmla="*/ 0 w 1375"/>
                <a:gd name="T87" fmla="*/ 0 h 1795"/>
                <a:gd name="T88" fmla="*/ 0 w 1375"/>
                <a:gd name="T89" fmla="*/ 0 h 1795"/>
                <a:gd name="T90" fmla="*/ 0 w 1375"/>
                <a:gd name="T91" fmla="*/ 0 h 1795"/>
                <a:gd name="T92" fmla="*/ 0 w 1375"/>
                <a:gd name="T93" fmla="*/ 0 h 1795"/>
                <a:gd name="T94" fmla="*/ 0 w 1375"/>
                <a:gd name="T95" fmla="*/ 0 h 1795"/>
                <a:gd name="T96" fmla="*/ 0 w 1375"/>
                <a:gd name="T97" fmla="*/ 0 h 1795"/>
                <a:gd name="T98" fmla="*/ 0 w 1375"/>
                <a:gd name="T99" fmla="*/ 0 h 1795"/>
                <a:gd name="T100" fmla="*/ 0 w 1375"/>
                <a:gd name="T101" fmla="*/ 0 h 1795"/>
                <a:gd name="T102" fmla="*/ 0 w 1375"/>
                <a:gd name="T103" fmla="*/ 0 h 1795"/>
                <a:gd name="T104" fmla="*/ 0 w 1375"/>
                <a:gd name="T105" fmla="*/ 0 h 17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75"/>
                <a:gd name="T160" fmla="*/ 0 h 1795"/>
                <a:gd name="T161" fmla="*/ 1375 w 1375"/>
                <a:gd name="T162" fmla="*/ 1795 h 179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75" h="1795">
                  <a:moveTo>
                    <a:pt x="1004" y="48"/>
                  </a:moveTo>
                  <a:lnTo>
                    <a:pt x="1017" y="80"/>
                  </a:lnTo>
                  <a:lnTo>
                    <a:pt x="1034" y="112"/>
                  </a:lnTo>
                  <a:lnTo>
                    <a:pt x="1053" y="145"/>
                  </a:lnTo>
                  <a:lnTo>
                    <a:pt x="1075" y="178"/>
                  </a:lnTo>
                  <a:lnTo>
                    <a:pt x="1099" y="209"/>
                  </a:lnTo>
                  <a:lnTo>
                    <a:pt x="1126" y="239"/>
                  </a:lnTo>
                  <a:lnTo>
                    <a:pt x="1152" y="267"/>
                  </a:lnTo>
                  <a:lnTo>
                    <a:pt x="1180" y="293"/>
                  </a:lnTo>
                  <a:lnTo>
                    <a:pt x="1209" y="338"/>
                  </a:lnTo>
                  <a:lnTo>
                    <a:pt x="1239" y="384"/>
                  </a:lnTo>
                  <a:lnTo>
                    <a:pt x="1264" y="433"/>
                  </a:lnTo>
                  <a:lnTo>
                    <a:pt x="1285" y="483"/>
                  </a:lnTo>
                  <a:lnTo>
                    <a:pt x="1301" y="533"/>
                  </a:lnTo>
                  <a:lnTo>
                    <a:pt x="1309" y="586"/>
                  </a:lnTo>
                  <a:lnTo>
                    <a:pt x="1308" y="639"/>
                  </a:lnTo>
                  <a:lnTo>
                    <a:pt x="1299" y="696"/>
                  </a:lnTo>
                  <a:lnTo>
                    <a:pt x="1338" y="722"/>
                  </a:lnTo>
                  <a:lnTo>
                    <a:pt x="1317" y="719"/>
                  </a:lnTo>
                  <a:lnTo>
                    <a:pt x="1304" y="722"/>
                  </a:lnTo>
                  <a:lnTo>
                    <a:pt x="1297" y="731"/>
                  </a:lnTo>
                  <a:lnTo>
                    <a:pt x="1293" y="745"/>
                  </a:lnTo>
                  <a:lnTo>
                    <a:pt x="1290" y="759"/>
                  </a:lnTo>
                  <a:lnTo>
                    <a:pt x="1288" y="776"/>
                  </a:lnTo>
                  <a:lnTo>
                    <a:pt x="1283" y="789"/>
                  </a:lnTo>
                  <a:lnTo>
                    <a:pt x="1275" y="802"/>
                  </a:lnTo>
                  <a:lnTo>
                    <a:pt x="1268" y="862"/>
                  </a:lnTo>
                  <a:lnTo>
                    <a:pt x="1270" y="920"/>
                  </a:lnTo>
                  <a:lnTo>
                    <a:pt x="1278" y="973"/>
                  </a:lnTo>
                  <a:lnTo>
                    <a:pt x="1292" y="1027"/>
                  </a:lnTo>
                  <a:lnTo>
                    <a:pt x="1306" y="1079"/>
                  </a:lnTo>
                  <a:lnTo>
                    <a:pt x="1321" y="1132"/>
                  </a:lnTo>
                  <a:lnTo>
                    <a:pt x="1331" y="1187"/>
                  </a:lnTo>
                  <a:lnTo>
                    <a:pt x="1338" y="1245"/>
                  </a:lnTo>
                  <a:lnTo>
                    <a:pt x="1347" y="1265"/>
                  </a:lnTo>
                  <a:lnTo>
                    <a:pt x="1356" y="1285"/>
                  </a:lnTo>
                  <a:lnTo>
                    <a:pt x="1364" y="1306"/>
                  </a:lnTo>
                  <a:lnTo>
                    <a:pt x="1370" y="1326"/>
                  </a:lnTo>
                  <a:lnTo>
                    <a:pt x="1373" y="1345"/>
                  </a:lnTo>
                  <a:lnTo>
                    <a:pt x="1375" y="1365"/>
                  </a:lnTo>
                  <a:lnTo>
                    <a:pt x="1374" y="1385"/>
                  </a:lnTo>
                  <a:lnTo>
                    <a:pt x="1371" y="1409"/>
                  </a:lnTo>
                  <a:lnTo>
                    <a:pt x="1338" y="1445"/>
                  </a:lnTo>
                  <a:lnTo>
                    <a:pt x="1307" y="1480"/>
                  </a:lnTo>
                  <a:lnTo>
                    <a:pt x="1273" y="1512"/>
                  </a:lnTo>
                  <a:lnTo>
                    <a:pt x="1240" y="1544"/>
                  </a:lnTo>
                  <a:lnTo>
                    <a:pt x="1204" y="1570"/>
                  </a:lnTo>
                  <a:lnTo>
                    <a:pt x="1169" y="1596"/>
                  </a:lnTo>
                  <a:lnTo>
                    <a:pt x="1131" y="1618"/>
                  </a:lnTo>
                  <a:lnTo>
                    <a:pt x="1094" y="1641"/>
                  </a:lnTo>
                  <a:lnTo>
                    <a:pt x="1069" y="1642"/>
                  </a:lnTo>
                  <a:lnTo>
                    <a:pt x="1049" y="1650"/>
                  </a:lnTo>
                  <a:lnTo>
                    <a:pt x="1028" y="1663"/>
                  </a:lnTo>
                  <a:lnTo>
                    <a:pt x="1011" y="1678"/>
                  </a:lnTo>
                  <a:lnTo>
                    <a:pt x="992" y="1693"/>
                  </a:lnTo>
                  <a:lnTo>
                    <a:pt x="974" y="1708"/>
                  </a:lnTo>
                  <a:lnTo>
                    <a:pt x="954" y="1720"/>
                  </a:lnTo>
                  <a:lnTo>
                    <a:pt x="935" y="1727"/>
                  </a:lnTo>
                  <a:lnTo>
                    <a:pt x="813" y="1773"/>
                  </a:lnTo>
                  <a:lnTo>
                    <a:pt x="689" y="1795"/>
                  </a:lnTo>
                  <a:lnTo>
                    <a:pt x="564" y="1795"/>
                  </a:lnTo>
                  <a:lnTo>
                    <a:pt x="440" y="1778"/>
                  </a:lnTo>
                  <a:lnTo>
                    <a:pt x="319" y="1741"/>
                  </a:lnTo>
                  <a:lnTo>
                    <a:pt x="204" y="1692"/>
                  </a:lnTo>
                  <a:lnTo>
                    <a:pt x="96" y="1631"/>
                  </a:lnTo>
                  <a:lnTo>
                    <a:pt x="0" y="1561"/>
                  </a:lnTo>
                  <a:lnTo>
                    <a:pt x="50" y="1513"/>
                  </a:lnTo>
                  <a:lnTo>
                    <a:pt x="99" y="1465"/>
                  </a:lnTo>
                  <a:lnTo>
                    <a:pt x="144" y="1413"/>
                  </a:lnTo>
                  <a:lnTo>
                    <a:pt x="187" y="1360"/>
                  </a:lnTo>
                  <a:lnTo>
                    <a:pt x="224" y="1303"/>
                  </a:lnTo>
                  <a:lnTo>
                    <a:pt x="257" y="1246"/>
                  </a:lnTo>
                  <a:lnTo>
                    <a:pt x="285" y="1187"/>
                  </a:lnTo>
                  <a:lnTo>
                    <a:pt x="307" y="1126"/>
                  </a:lnTo>
                  <a:lnTo>
                    <a:pt x="324" y="1101"/>
                  </a:lnTo>
                  <a:lnTo>
                    <a:pt x="339" y="1075"/>
                  </a:lnTo>
                  <a:lnTo>
                    <a:pt x="349" y="1046"/>
                  </a:lnTo>
                  <a:lnTo>
                    <a:pt x="360" y="1017"/>
                  </a:lnTo>
                  <a:lnTo>
                    <a:pt x="368" y="986"/>
                  </a:lnTo>
                  <a:lnTo>
                    <a:pt x="376" y="955"/>
                  </a:lnTo>
                  <a:lnTo>
                    <a:pt x="384" y="924"/>
                  </a:lnTo>
                  <a:lnTo>
                    <a:pt x="396" y="894"/>
                  </a:lnTo>
                  <a:lnTo>
                    <a:pt x="411" y="840"/>
                  </a:lnTo>
                  <a:lnTo>
                    <a:pt x="421" y="786"/>
                  </a:lnTo>
                  <a:lnTo>
                    <a:pt x="426" y="729"/>
                  </a:lnTo>
                  <a:lnTo>
                    <a:pt x="427" y="673"/>
                  </a:lnTo>
                  <a:lnTo>
                    <a:pt x="426" y="615"/>
                  </a:lnTo>
                  <a:lnTo>
                    <a:pt x="425" y="557"/>
                  </a:lnTo>
                  <a:lnTo>
                    <a:pt x="424" y="500"/>
                  </a:lnTo>
                  <a:lnTo>
                    <a:pt x="426" y="445"/>
                  </a:lnTo>
                  <a:lnTo>
                    <a:pt x="424" y="391"/>
                  </a:lnTo>
                  <a:lnTo>
                    <a:pt x="415" y="340"/>
                  </a:lnTo>
                  <a:lnTo>
                    <a:pt x="402" y="290"/>
                  </a:lnTo>
                  <a:lnTo>
                    <a:pt x="390" y="241"/>
                  </a:lnTo>
                  <a:lnTo>
                    <a:pt x="374" y="192"/>
                  </a:lnTo>
                  <a:lnTo>
                    <a:pt x="363" y="147"/>
                  </a:lnTo>
                  <a:lnTo>
                    <a:pt x="355" y="101"/>
                  </a:lnTo>
                  <a:lnTo>
                    <a:pt x="357" y="55"/>
                  </a:lnTo>
                  <a:lnTo>
                    <a:pt x="430" y="29"/>
                  </a:lnTo>
                  <a:lnTo>
                    <a:pt x="508" y="12"/>
                  </a:lnTo>
                  <a:lnTo>
                    <a:pt x="589" y="2"/>
                  </a:lnTo>
                  <a:lnTo>
                    <a:pt x="674" y="0"/>
                  </a:lnTo>
                  <a:lnTo>
                    <a:pt x="758" y="2"/>
                  </a:lnTo>
                  <a:lnTo>
                    <a:pt x="841" y="14"/>
                  </a:lnTo>
                  <a:lnTo>
                    <a:pt x="923" y="28"/>
                  </a:lnTo>
                  <a:lnTo>
                    <a:pt x="1004" y="48"/>
                  </a:lnTo>
                  <a:close/>
                </a:path>
              </a:pathLst>
            </a:custGeom>
            <a:solidFill>
              <a:srgbClr val="FFFF89"/>
            </a:solidFill>
            <a:ln w="9525">
              <a:noFill/>
              <a:round/>
              <a:headEnd/>
              <a:tailEnd/>
            </a:ln>
          </p:spPr>
          <p:txBody>
            <a:bodyPr/>
            <a:lstStyle/>
            <a:p>
              <a:pPr>
                <a:defRPr/>
              </a:pPr>
              <a:endParaRPr lang="en-US" dirty="0">
                <a:cs typeface="+mn-cs"/>
              </a:endParaRPr>
            </a:p>
          </p:txBody>
        </p:sp>
        <p:sp>
          <p:nvSpPr>
            <p:cNvPr id="96" name="Freeform 1086"/>
            <p:cNvSpPr>
              <a:spLocks/>
            </p:cNvSpPr>
            <p:nvPr/>
          </p:nvSpPr>
          <p:spPr bwMode="auto">
            <a:xfrm>
              <a:off x="2070" y="2496"/>
              <a:ext cx="318" cy="415"/>
            </a:xfrm>
            <a:custGeom>
              <a:avLst/>
              <a:gdLst>
                <a:gd name="T0" fmla="*/ 0 w 1269"/>
                <a:gd name="T1" fmla="*/ 0 h 1658"/>
                <a:gd name="T2" fmla="*/ 0 w 1269"/>
                <a:gd name="T3" fmla="*/ 0 h 1658"/>
                <a:gd name="T4" fmla="*/ 0 w 1269"/>
                <a:gd name="T5" fmla="*/ 0 h 1658"/>
                <a:gd name="T6" fmla="*/ 0 w 1269"/>
                <a:gd name="T7" fmla="*/ 0 h 1658"/>
                <a:gd name="T8" fmla="*/ 0 w 1269"/>
                <a:gd name="T9" fmla="*/ 0 h 1658"/>
                <a:gd name="T10" fmla="*/ 0 w 1269"/>
                <a:gd name="T11" fmla="*/ 0 h 1658"/>
                <a:gd name="T12" fmla="*/ 0 w 1269"/>
                <a:gd name="T13" fmla="*/ 0 h 1658"/>
                <a:gd name="T14" fmla="*/ 0 w 1269"/>
                <a:gd name="T15" fmla="*/ 0 h 1658"/>
                <a:gd name="T16" fmla="*/ 0 w 1269"/>
                <a:gd name="T17" fmla="*/ 0 h 1658"/>
                <a:gd name="T18" fmla="*/ 0 w 1269"/>
                <a:gd name="T19" fmla="*/ 0 h 1658"/>
                <a:gd name="T20" fmla="*/ 0 w 1269"/>
                <a:gd name="T21" fmla="*/ 0 h 1658"/>
                <a:gd name="T22" fmla="*/ 0 w 1269"/>
                <a:gd name="T23" fmla="*/ 0 h 1658"/>
                <a:gd name="T24" fmla="*/ 0 w 1269"/>
                <a:gd name="T25" fmla="*/ 0 h 1658"/>
                <a:gd name="T26" fmla="*/ 0 w 1269"/>
                <a:gd name="T27" fmla="*/ 0 h 1658"/>
                <a:gd name="T28" fmla="*/ 0 w 1269"/>
                <a:gd name="T29" fmla="*/ 0 h 1658"/>
                <a:gd name="T30" fmla="*/ 0 w 1269"/>
                <a:gd name="T31" fmla="*/ 0 h 1658"/>
                <a:gd name="T32" fmla="*/ 0 w 1269"/>
                <a:gd name="T33" fmla="*/ 0 h 1658"/>
                <a:gd name="T34" fmla="*/ 0 w 1269"/>
                <a:gd name="T35" fmla="*/ 0 h 1658"/>
                <a:gd name="T36" fmla="*/ 0 w 1269"/>
                <a:gd name="T37" fmla="*/ 0 h 1658"/>
                <a:gd name="T38" fmla="*/ 0 w 1269"/>
                <a:gd name="T39" fmla="*/ 0 h 1658"/>
                <a:gd name="T40" fmla="*/ 0 w 1269"/>
                <a:gd name="T41" fmla="*/ 0 h 1658"/>
                <a:gd name="T42" fmla="*/ 0 w 1269"/>
                <a:gd name="T43" fmla="*/ 0 h 1658"/>
                <a:gd name="T44" fmla="*/ 0 w 1269"/>
                <a:gd name="T45" fmla="*/ 0 h 1658"/>
                <a:gd name="T46" fmla="*/ 0 w 1269"/>
                <a:gd name="T47" fmla="*/ 0 h 1658"/>
                <a:gd name="T48" fmla="*/ 0 w 1269"/>
                <a:gd name="T49" fmla="*/ 0 h 1658"/>
                <a:gd name="T50" fmla="*/ 0 w 1269"/>
                <a:gd name="T51" fmla="*/ 0 h 1658"/>
                <a:gd name="T52" fmla="*/ 0 w 1269"/>
                <a:gd name="T53" fmla="*/ 0 h 1658"/>
                <a:gd name="T54" fmla="*/ 0 w 1269"/>
                <a:gd name="T55" fmla="*/ 0 h 1658"/>
                <a:gd name="T56" fmla="*/ 0 w 1269"/>
                <a:gd name="T57" fmla="*/ 0 h 1658"/>
                <a:gd name="T58" fmla="*/ 0 w 1269"/>
                <a:gd name="T59" fmla="*/ 0 h 1658"/>
                <a:gd name="T60" fmla="*/ 0 w 1269"/>
                <a:gd name="T61" fmla="*/ 0 h 1658"/>
                <a:gd name="T62" fmla="*/ 0 w 1269"/>
                <a:gd name="T63" fmla="*/ 0 h 1658"/>
                <a:gd name="T64" fmla="*/ 0 w 1269"/>
                <a:gd name="T65" fmla="*/ 0 h 1658"/>
                <a:gd name="T66" fmla="*/ 0 w 1269"/>
                <a:gd name="T67" fmla="*/ 0 h 1658"/>
                <a:gd name="T68" fmla="*/ 0 w 1269"/>
                <a:gd name="T69" fmla="*/ 0 h 1658"/>
                <a:gd name="T70" fmla="*/ 0 w 1269"/>
                <a:gd name="T71" fmla="*/ 0 h 1658"/>
                <a:gd name="T72" fmla="*/ 0 w 1269"/>
                <a:gd name="T73" fmla="*/ 0 h 1658"/>
                <a:gd name="T74" fmla="*/ 0 w 1269"/>
                <a:gd name="T75" fmla="*/ 0 h 1658"/>
                <a:gd name="T76" fmla="*/ 0 w 1269"/>
                <a:gd name="T77" fmla="*/ 0 h 1658"/>
                <a:gd name="T78" fmla="*/ 0 w 1269"/>
                <a:gd name="T79" fmla="*/ 0 h 1658"/>
                <a:gd name="T80" fmla="*/ 0 w 1269"/>
                <a:gd name="T81" fmla="*/ 0 h 1658"/>
                <a:gd name="T82" fmla="*/ 0 w 1269"/>
                <a:gd name="T83" fmla="*/ 0 h 1658"/>
                <a:gd name="T84" fmla="*/ 0 w 1269"/>
                <a:gd name="T85" fmla="*/ 0 h 1658"/>
                <a:gd name="T86" fmla="*/ 0 w 1269"/>
                <a:gd name="T87" fmla="*/ 0 h 1658"/>
                <a:gd name="T88" fmla="*/ 0 w 1269"/>
                <a:gd name="T89" fmla="*/ 0 h 1658"/>
                <a:gd name="T90" fmla="*/ 0 w 1269"/>
                <a:gd name="T91" fmla="*/ 0 h 1658"/>
                <a:gd name="T92" fmla="*/ 0 w 1269"/>
                <a:gd name="T93" fmla="*/ 0 h 1658"/>
                <a:gd name="T94" fmla="*/ 0 w 1269"/>
                <a:gd name="T95" fmla="*/ 0 h 1658"/>
                <a:gd name="T96" fmla="*/ 0 w 1269"/>
                <a:gd name="T97" fmla="*/ 0 h 1658"/>
                <a:gd name="T98" fmla="*/ 0 w 1269"/>
                <a:gd name="T99" fmla="*/ 0 h 1658"/>
                <a:gd name="T100" fmla="*/ 0 w 1269"/>
                <a:gd name="T101" fmla="*/ 0 h 1658"/>
                <a:gd name="T102" fmla="*/ 0 w 1269"/>
                <a:gd name="T103" fmla="*/ 0 h 1658"/>
                <a:gd name="T104" fmla="*/ 0 w 1269"/>
                <a:gd name="T105" fmla="*/ 0 h 165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69"/>
                <a:gd name="T160" fmla="*/ 0 h 1658"/>
                <a:gd name="T161" fmla="*/ 1269 w 1269"/>
                <a:gd name="T162" fmla="*/ 1658 h 165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69" h="1658">
                  <a:moveTo>
                    <a:pt x="927" y="45"/>
                  </a:moveTo>
                  <a:lnTo>
                    <a:pt x="939" y="74"/>
                  </a:lnTo>
                  <a:lnTo>
                    <a:pt x="954" y="104"/>
                  </a:lnTo>
                  <a:lnTo>
                    <a:pt x="970" y="135"/>
                  </a:lnTo>
                  <a:lnTo>
                    <a:pt x="992" y="165"/>
                  </a:lnTo>
                  <a:lnTo>
                    <a:pt x="1013" y="193"/>
                  </a:lnTo>
                  <a:lnTo>
                    <a:pt x="1037" y="221"/>
                  </a:lnTo>
                  <a:lnTo>
                    <a:pt x="1062" y="246"/>
                  </a:lnTo>
                  <a:lnTo>
                    <a:pt x="1088" y="270"/>
                  </a:lnTo>
                  <a:lnTo>
                    <a:pt x="1116" y="310"/>
                  </a:lnTo>
                  <a:lnTo>
                    <a:pt x="1142" y="355"/>
                  </a:lnTo>
                  <a:lnTo>
                    <a:pt x="1167" y="399"/>
                  </a:lnTo>
                  <a:lnTo>
                    <a:pt x="1187" y="446"/>
                  </a:lnTo>
                  <a:lnTo>
                    <a:pt x="1201" y="491"/>
                  </a:lnTo>
                  <a:lnTo>
                    <a:pt x="1208" y="541"/>
                  </a:lnTo>
                  <a:lnTo>
                    <a:pt x="1207" y="590"/>
                  </a:lnTo>
                  <a:lnTo>
                    <a:pt x="1198" y="642"/>
                  </a:lnTo>
                  <a:lnTo>
                    <a:pt x="1235" y="667"/>
                  </a:lnTo>
                  <a:lnTo>
                    <a:pt x="1215" y="662"/>
                  </a:lnTo>
                  <a:lnTo>
                    <a:pt x="1203" y="666"/>
                  </a:lnTo>
                  <a:lnTo>
                    <a:pt x="1196" y="675"/>
                  </a:lnTo>
                  <a:lnTo>
                    <a:pt x="1193" y="689"/>
                  </a:lnTo>
                  <a:lnTo>
                    <a:pt x="1191" y="703"/>
                  </a:lnTo>
                  <a:lnTo>
                    <a:pt x="1188" y="717"/>
                  </a:lnTo>
                  <a:lnTo>
                    <a:pt x="1184" y="729"/>
                  </a:lnTo>
                  <a:lnTo>
                    <a:pt x="1177" y="741"/>
                  </a:lnTo>
                  <a:lnTo>
                    <a:pt x="1169" y="795"/>
                  </a:lnTo>
                  <a:lnTo>
                    <a:pt x="1172" y="848"/>
                  </a:lnTo>
                  <a:lnTo>
                    <a:pt x="1179" y="898"/>
                  </a:lnTo>
                  <a:lnTo>
                    <a:pt x="1192" y="948"/>
                  </a:lnTo>
                  <a:lnTo>
                    <a:pt x="1204" y="996"/>
                  </a:lnTo>
                  <a:lnTo>
                    <a:pt x="1218" y="1046"/>
                  </a:lnTo>
                  <a:lnTo>
                    <a:pt x="1229" y="1095"/>
                  </a:lnTo>
                  <a:lnTo>
                    <a:pt x="1235" y="1149"/>
                  </a:lnTo>
                  <a:lnTo>
                    <a:pt x="1244" y="1168"/>
                  </a:lnTo>
                  <a:lnTo>
                    <a:pt x="1253" y="1187"/>
                  </a:lnTo>
                  <a:lnTo>
                    <a:pt x="1259" y="1205"/>
                  </a:lnTo>
                  <a:lnTo>
                    <a:pt x="1265" y="1223"/>
                  </a:lnTo>
                  <a:lnTo>
                    <a:pt x="1268" y="1241"/>
                  </a:lnTo>
                  <a:lnTo>
                    <a:pt x="1269" y="1259"/>
                  </a:lnTo>
                  <a:lnTo>
                    <a:pt x="1268" y="1278"/>
                  </a:lnTo>
                  <a:lnTo>
                    <a:pt x="1265" y="1301"/>
                  </a:lnTo>
                  <a:lnTo>
                    <a:pt x="1235" y="1334"/>
                  </a:lnTo>
                  <a:lnTo>
                    <a:pt x="1206" y="1367"/>
                  </a:lnTo>
                  <a:lnTo>
                    <a:pt x="1174" y="1396"/>
                  </a:lnTo>
                  <a:lnTo>
                    <a:pt x="1144" y="1425"/>
                  </a:lnTo>
                  <a:lnTo>
                    <a:pt x="1111" y="1449"/>
                  </a:lnTo>
                  <a:lnTo>
                    <a:pt x="1078" y="1473"/>
                  </a:lnTo>
                  <a:lnTo>
                    <a:pt x="1044" y="1495"/>
                  </a:lnTo>
                  <a:lnTo>
                    <a:pt x="1010" y="1515"/>
                  </a:lnTo>
                  <a:lnTo>
                    <a:pt x="987" y="1516"/>
                  </a:lnTo>
                  <a:lnTo>
                    <a:pt x="968" y="1524"/>
                  </a:lnTo>
                  <a:lnTo>
                    <a:pt x="949" y="1534"/>
                  </a:lnTo>
                  <a:lnTo>
                    <a:pt x="934" y="1549"/>
                  </a:lnTo>
                  <a:lnTo>
                    <a:pt x="916" y="1563"/>
                  </a:lnTo>
                  <a:lnTo>
                    <a:pt x="900" y="1577"/>
                  </a:lnTo>
                  <a:lnTo>
                    <a:pt x="881" y="1587"/>
                  </a:lnTo>
                  <a:lnTo>
                    <a:pt x="863" y="1595"/>
                  </a:lnTo>
                  <a:lnTo>
                    <a:pt x="750" y="1637"/>
                  </a:lnTo>
                  <a:lnTo>
                    <a:pt x="636" y="1657"/>
                  </a:lnTo>
                  <a:lnTo>
                    <a:pt x="520" y="1658"/>
                  </a:lnTo>
                  <a:lnTo>
                    <a:pt x="406" y="1642"/>
                  </a:lnTo>
                  <a:lnTo>
                    <a:pt x="294" y="1607"/>
                  </a:lnTo>
                  <a:lnTo>
                    <a:pt x="189" y="1562"/>
                  </a:lnTo>
                  <a:lnTo>
                    <a:pt x="89" y="1505"/>
                  </a:lnTo>
                  <a:lnTo>
                    <a:pt x="0" y="1442"/>
                  </a:lnTo>
                  <a:lnTo>
                    <a:pt x="46" y="1397"/>
                  </a:lnTo>
                  <a:lnTo>
                    <a:pt x="91" y="1352"/>
                  </a:lnTo>
                  <a:lnTo>
                    <a:pt x="133" y="1304"/>
                  </a:lnTo>
                  <a:lnTo>
                    <a:pt x="172" y="1256"/>
                  </a:lnTo>
                  <a:lnTo>
                    <a:pt x="206" y="1204"/>
                  </a:lnTo>
                  <a:lnTo>
                    <a:pt x="237" y="1151"/>
                  </a:lnTo>
                  <a:lnTo>
                    <a:pt x="262" y="1095"/>
                  </a:lnTo>
                  <a:lnTo>
                    <a:pt x="283" y="1039"/>
                  </a:lnTo>
                  <a:lnTo>
                    <a:pt x="299" y="1017"/>
                  </a:lnTo>
                  <a:lnTo>
                    <a:pt x="311" y="992"/>
                  </a:lnTo>
                  <a:lnTo>
                    <a:pt x="321" y="966"/>
                  </a:lnTo>
                  <a:lnTo>
                    <a:pt x="331" y="939"/>
                  </a:lnTo>
                  <a:lnTo>
                    <a:pt x="339" y="910"/>
                  </a:lnTo>
                  <a:lnTo>
                    <a:pt x="347" y="881"/>
                  </a:lnTo>
                  <a:lnTo>
                    <a:pt x="356" y="852"/>
                  </a:lnTo>
                  <a:lnTo>
                    <a:pt x="366" y="825"/>
                  </a:lnTo>
                  <a:lnTo>
                    <a:pt x="380" y="775"/>
                  </a:lnTo>
                  <a:lnTo>
                    <a:pt x="388" y="725"/>
                  </a:lnTo>
                  <a:lnTo>
                    <a:pt x="393" y="674"/>
                  </a:lnTo>
                  <a:lnTo>
                    <a:pt x="395" y="622"/>
                  </a:lnTo>
                  <a:lnTo>
                    <a:pt x="393" y="567"/>
                  </a:lnTo>
                  <a:lnTo>
                    <a:pt x="392" y="514"/>
                  </a:lnTo>
                  <a:lnTo>
                    <a:pt x="391" y="461"/>
                  </a:lnTo>
                  <a:lnTo>
                    <a:pt x="393" y="410"/>
                  </a:lnTo>
                  <a:lnTo>
                    <a:pt x="391" y="361"/>
                  </a:lnTo>
                  <a:lnTo>
                    <a:pt x="383" y="314"/>
                  </a:lnTo>
                  <a:lnTo>
                    <a:pt x="372" y="267"/>
                  </a:lnTo>
                  <a:lnTo>
                    <a:pt x="359" y="223"/>
                  </a:lnTo>
                  <a:lnTo>
                    <a:pt x="345" y="178"/>
                  </a:lnTo>
                  <a:lnTo>
                    <a:pt x="335" y="135"/>
                  </a:lnTo>
                  <a:lnTo>
                    <a:pt x="328" y="93"/>
                  </a:lnTo>
                  <a:lnTo>
                    <a:pt x="329" y="51"/>
                  </a:lnTo>
                  <a:lnTo>
                    <a:pt x="397" y="27"/>
                  </a:lnTo>
                  <a:lnTo>
                    <a:pt x="469" y="11"/>
                  </a:lnTo>
                  <a:lnTo>
                    <a:pt x="544" y="2"/>
                  </a:lnTo>
                  <a:lnTo>
                    <a:pt x="622" y="0"/>
                  </a:lnTo>
                  <a:lnTo>
                    <a:pt x="698" y="3"/>
                  </a:lnTo>
                  <a:lnTo>
                    <a:pt x="777" y="13"/>
                  </a:lnTo>
                  <a:lnTo>
                    <a:pt x="853" y="26"/>
                  </a:lnTo>
                  <a:lnTo>
                    <a:pt x="927" y="45"/>
                  </a:lnTo>
                  <a:close/>
                </a:path>
              </a:pathLst>
            </a:custGeom>
            <a:solidFill>
              <a:srgbClr val="FFFF92"/>
            </a:solidFill>
            <a:ln w="9525">
              <a:noFill/>
              <a:round/>
              <a:headEnd/>
              <a:tailEnd/>
            </a:ln>
          </p:spPr>
          <p:txBody>
            <a:bodyPr/>
            <a:lstStyle/>
            <a:p>
              <a:pPr>
                <a:defRPr/>
              </a:pPr>
              <a:endParaRPr lang="en-US" dirty="0">
                <a:cs typeface="+mn-cs"/>
              </a:endParaRPr>
            </a:p>
          </p:txBody>
        </p:sp>
        <p:sp>
          <p:nvSpPr>
            <p:cNvPr id="97" name="Freeform 1087"/>
            <p:cNvSpPr>
              <a:spLocks/>
            </p:cNvSpPr>
            <p:nvPr/>
          </p:nvSpPr>
          <p:spPr bwMode="auto">
            <a:xfrm>
              <a:off x="2083" y="2513"/>
              <a:ext cx="291" cy="380"/>
            </a:xfrm>
            <a:custGeom>
              <a:avLst/>
              <a:gdLst>
                <a:gd name="T0" fmla="*/ 0 w 1164"/>
                <a:gd name="T1" fmla="*/ 0 h 1518"/>
                <a:gd name="T2" fmla="*/ 0 w 1164"/>
                <a:gd name="T3" fmla="*/ 0 h 1518"/>
                <a:gd name="T4" fmla="*/ 0 w 1164"/>
                <a:gd name="T5" fmla="*/ 0 h 1518"/>
                <a:gd name="T6" fmla="*/ 0 w 1164"/>
                <a:gd name="T7" fmla="*/ 0 h 1518"/>
                <a:gd name="T8" fmla="*/ 0 w 1164"/>
                <a:gd name="T9" fmla="*/ 0 h 1518"/>
                <a:gd name="T10" fmla="*/ 0 w 1164"/>
                <a:gd name="T11" fmla="*/ 0 h 1518"/>
                <a:gd name="T12" fmla="*/ 0 w 1164"/>
                <a:gd name="T13" fmla="*/ 0 h 1518"/>
                <a:gd name="T14" fmla="*/ 0 w 1164"/>
                <a:gd name="T15" fmla="*/ 0 h 1518"/>
                <a:gd name="T16" fmla="*/ 0 w 1164"/>
                <a:gd name="T17" fmla="*/ 0 h 1518"/>
                <a:gd name="T18" fmla="*/ 0 w 1164"/>
                <a:gd name="T19" fmla="*/ 0 h 1518"/>
                <a:gd name="T20" fmla="*/ 0 w 1164"/>
                <a:gd name="T21" fmla="*/ 0 h 1518"/>
                <a:gd name="T22" fmla="*/ 0 w 1164"/>
                <a:gd name="T23" fmla="*/ 0 h 1518"/>
                <a:gd name="T24" fmla="*/ 0 w 1164"/>
                <a:gd name="T25" fmla="*/ 0 h 1518"/>
                <a:gd name="T26" fmla="*/ 0 w 1164"/>
                <a:gd name="T27" fmla="*/ 0 h 1518"/>
                <a:gd name="T28" fmla="*/ 0 w 1164"/>
                <a:gd name="T29" fmla="*/ 0 h 1518"/>
                <a:gd name="T30" fmla="*/ 0 w 1164"/>
                <a:gd name="T31" fmla="*/ 0 h 1518"/>
                <a:gd name="T32" fmla="*/ 0 w 1164"/>
                <a:gd name="T33" fmla="*/ 0 h 1518"/>
                <a:gd name="T34" fmla="*/ 0 w 1164"/>
                <a:gd name="T35" fmla="*/ 0 h 1518"/>
                <a:gd name="T36" fmla="*/ 0 w 1164"/>
                <a:gd name="T37" fmla="*/ 0 h 1518"/>
                <a:gd name="T38" fmla="*/ 0 w 1164"/>
                <a:gd name="T39" fmla="*/ 0 h 1518"/>
                <a:gd name="T40" fmla="*/ 0 w 1164"/>
                <a:gd name="T41" fmla="*/ 0 h 1518"/>
                <a:gd name="T42" fmla="*/ 0 w 1164"/>
                <a:gd name="T43" fmla="*/ 0 h 1518"/>
                <a:gd name="T44" fmla="*/ 0 w 1164"/>
                <a:gd name="T45" fmla="*/ 0 h 1518"/>
                <a:gd name="T46" fmla="*/ 0 w 1164"/>
                <a:gd name="T47" fmla="*/ 0 h 1518"/>
                <a:gd name="T48" fmla="*/ 0 w 1164"/>
                <a:gd name="T49" fmla="*/ 0 h 1518"/>
                <a:gd name="T50" fmla="*/ 0 w 1164"/>
                <a:gd name="T51" fmla="*/ 0 h 1518"/>
                <a:gd name="T52" fmla="*/ 0 w 1164"/>
                <a:gd name="T53" fmla="*/ 0 h 1518"/>
                <a:gd name="T54" fmla="*/ 0 w 1164"/>
                <a:gd name="T55" fmla="*/ 0 h 1518"/>
                <a:gd name="T56" fmla="*/ 0 w 1164"/>
                <a:gd name="T57" fmla="*/ 0 h 1518"/>
                <a:gd name="T58" fmla="*/ 0 w 1164"/>
                <a:gd name="T59" fmla="*/ 0 h 1518"/>
                <a:gd name="T60" fmla="*/ 0 w 1164"/>
                <a:gd name="T61" fmla="*/ 0 h 1518"/>
                <a:gd name="T62" fmla="*/ 0 w 1164"/>
                <a:gd name="T63" fmla="*/ 0 h 1518"/>
                <a:gd name="T64" fmla="*/ 0 w 1164"/>
                <a:gd name="T65" fmla="*/ 0 h 1518"/>
                <a:gd name="T66" fmla="*/ 0 w 1164"/>
                <a:gd name="T67" fmla="*/ 0 h 1518"/>
                <a:gd name="T68" fmla="*/ 0 w 1164"/>
                <a:gd name="T69" fmla="*/ 0 h 1518"/>
                <a:gd name="T70" fmla="*/ 0 w 1164"/>
                <a:gd name="T71" fmla="*/ 0 h 1518"/>
                <a:gd name="T72" fmla="*/ 0 w 1164"/>
                <a:gd name="T73" fmla="*/ 0 h 1518"/>
                <a:gd name="T74" fmla="*/ 0 w 1164"/>
                <a:gd name="T75" fmla="*/ 0 h 1518"/>
                <a:gd name="T76" fmla="*/ 0 w 1164"/>
                <a:gd name="T77" fmla="*/ 0 h 1518"/>
                <a:gd name="T78" fmla="*/ 0 w 1164"/>
                <a:gd name="T79" fmla="*/ 0 h 1518"/>
                <a:gd name="T80" fmla="*/ 0 w 1164"/>
                <a:gd name="T81" fmla="*/ 0 h 1518"/>
                <a:gd name="T82" fmla="*/ 0 w 1164"/>
                <a:gd name="T83" fmla="*/ 0 h 1518"/>
                <a:gd name="T84" fmla="*/ 0 w 1164"/>
                <a:gd name="T85" fmla="*/ 0 h 1518"/>
                <a:gd name="T86" fmla="*/ 0 w 1164"/>
                <a:gd name="T87" fmla="*/ 0 h 1518"/>
                <a:gd name="T88" fmla="*/ 0 w 1164"/>
                <a:gd name="T89" fmla="*/ 0 h 1518"/>
                <a:gd name="T90" fmla="*/ 0 w 1164"/>
                <a:gd name="T91" fmla="*/ 0 h 1518"/>
                <a:gd name="T92" fmla="*/ 0 w 1164"/>
                <a:gd name="T93" fmla="*/ 0 h 1518"/>
                <a:gd name="T94" fmla="*/ 0 w 1164"/>
                <a:gd name="T95" fmla="*/ 0 h 1518"/>
                <a:gd name="T96" fmla="*/ 0 w 1164"/>
                <a:gd name="T97" fmla="*/ 0 h 1518"/>
                <a:gd name="T98" fmla="*/ 0 w 1164"/>
                <a:gd name="T99" fmla="*/ 0 h 1518"/>
                <a:gd name="T100" fmla="*/ 0 w 1164"/>
                <a:gd name="T101" fmla="*/ 0 h 1518"/>
                <a:gd name="T102" fmla="*/ 0 w 1164"/>
                <a:gd name="T103" fmla="*/ 0 h 1518"/>
                <a:gd name="T104" fmla="*/ 0 w 1164"/>
                <a:gd name="T105" fmla="*/ 0 h 151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64"/>
                <a:gd name="T160" fmla="*/ 0 h 1518"/>
                <a:gd name="T161" fmla="*/ 1164 w 1164"/>
                <a:gd name="T162" fmla="*/ 1518 h 151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64" h="1518">
                  <a:moveTo>
                    <a:pt x="850" y="41"/>
                  </a:moveTo>
                  <a:lnTo>
                    <a:pt x="860" y="68"/>
                  </a:lnTo>
                  <a:lnTo>
                    <a:pt x="874" y="96"/>
                  </a:lnTo>
                  <a:lnTo>
                    <a:pt x="891" y="122"/>
                  </a:lnTo>
                  <a:lnTo>
                    <a:pt x="911" y="152"/>
                  </a:lnTo>
                  <a:lnTo>
                    <a:pt x="930" y="177"/>
                  </a:lnTo>
                  <a:lnTo>
                    <a:pt x="953" y="202"/>
                  </a:lnTo>
                  <a:lnTo>
                    <a:pt x="974" y="225"/>
                  </a:lnTo>
                  <a:lnTo>
                    <a:pt x="998" y="248"/>
                  </a:lnTo>
                  <a:lnTo>
                    <a:pt x="1023" y="286"/>
                  </a:lnTo>
                  <a:lnTo>
                    <a:pt x="1049" y="325"/>
                  </a:lnTo>
                  <a:lnTo>
                    <a:pt x="1070" y="365"/>
                  </a:lnTo>
                  <a:lnTo>
                    <a:pt x="1088" y="408"/>
                  </a:lnTo>
                  <a:lnTo>
                    <a:pt x="1101" y="450"/>
                  </a:lnTo>
                  <a:lnTo>
                    <a:pt x="1108" y="496"/>
                  </a:lnTo>
                  <a:lnTo>
                    <a:pt x="1107" y="541"/>
                  </a:lnTo>
                  <a:lnTo>
                    <a:pt x="1099" y="589"/>
                  </a:lnTo>
                  <a:lnTo>
                    <a:pt x="1134" y="612"/>
                  </a:lnTo>
                  <a:lnTo>
                    <a:pt x="1115" y="608"/>
                  </a:lnTo>
                  <a:lnTo>
                    <a:pt x="1103" y="612"/>
                  </a:lnTo>
                  <a:lnTo>
                    <a:pt x="1097" y="620"/>
                  </a:lnTo>
                  <a:lnTo>
                    <a:pt x="1094" y="631"/>
                  </a:lnTo>
                  <a:lnTo>
                    <a:pt x="1092" y="644"/>
                  </a:lnTo>
                  <a:lnTo>
                    <a:pt x="1089" y="656"/>
                  </a:lnTo>
                  <a:lnTo>
                    <a:pt x="1085" y="669"/>
                  </a:lnTo>
                  <a:lnTo>
                    <a:pt x="1080" y="679"/>
                  </a:lnTo>
                  <a:lnTo>
                    <a:pt x="1073" y="730"/>
                  </a:lnTo>
                  <a:lnTo>
                    <a:pt x="1074" y="778"/>
                  </a:lnTo>
                  <a:lnTo>
                    <a:pt x="1082" y="824"/>
                  </a:lnTo>
                  <a:lnTo>
                    <a:pt x="1093" y="870"/>
                  </a:lnTo>
                  <a:lnTo>
                    <a:pt x="1104" y="913"/>
                  </a:lnTo>
                  <a:lnTo>
                    <a:pt x="1117" y="959"/>
                  </a:lnTo>
                  <a:lnTo>
                    <a:pt x="1127" y="1004"/>
                  </a:lnTo>
                  <a:lnTo>
                    <a:pt x="1134" y="1054"/>
                  </a:lnTo>
                  <a:lnTo>
                    <a:pt x="1141" y="1070"/>
                  </a:lnTo>
                  <a:lnTo>
                    <a:pt x="1149" y="1088"/>
                  </a:lnTo>
                  <a:lnTo>
                    <a:pt x="1155" y="1104"/>
                  </a:lnTo>
                  <a:lnTo>
                    <a:pt x="1160" y="1121"/>
                  </a:lnTo>
                  <a:lnTo>
                    <a:pt x="1163" y="1137"/>
                  </a:lnTo>
                  <a:lnTo>
                    <a:pt x="1164" y="1155"/>
                  </a:lnTo>
                  <a:lnTo>
                    <a:pt x="1163" y="1173"/>
                  </a:lnTo>
                  <a:lnTo>
                    <a:pt x="1161" y="1193"/>
                  </a:lnTo>
                  <a:lnTo>
                    <a:pt x="1134" y="1223"/>
                  </a:lnTo>
                  <a:lnTo>
                    <a:pt x="1106" y="1253"/>
                  </a:lnTo>
                  <a:lnTo>
                    <a:pt x="1077" y="1279"/>
                  </a:lnTo>
                  <a:lnTo>
                    <a:pt x="1049" y="1306"/>
                  </a:lnTo>
                  <a:lnTo>
                    <a:pt x="1018" y="1328"/>
                  </a:lnTo>
                  <a:lnTo>
                    <a:pt x="989" y="1351"/>
                  </a:lnTo>
                  <a:lnTo>
                    <a:pt x="958" y="1370"/>
                  </a:lnTo>
                  <a:lnTo>
                    <a:pt x="926" y="1389"/>
                  </a:lnTo>
                  <a:lnTo>
                    <a:pt x="906" y="1389"/>
                  </a:lnTo>
                  <a:lnTo>
                    <a:pt x="888" y="1397"/>
                  </a:lnTo>
                  <a:lnTo>
                    <a:pt x="872" y="1407"/>
                  </a:lnTo>
                  <a:lnTo>
                    <a:pt x="856" y="1421"/>
                  </a:lnTo>
                  <a:lnTo>
                    <a:pt x="841" y="1433"/>
                  </a:lnTo>
                  <a:lnTo>
                    <a:pt x="826" y="1446"/>
                  </a:lnTo>
                  <a:lnTo>
                    <a:pt x="808" y="1455"/>
                  </a:lnTo>
                  <a:lnTo>
                    <a:pt x="792" y="1461"/>
                  </a:lnTo>
                  <a:lnTo>
                    <a:pt x="689" y="1499"/>
                  </a:lnTo>
                  <a:lnTo>
                    <a:pt x="584" y="1518"/>
                  </a:lnTo>
                  <a:lnTo>
                    <a:pt x="478" y="1518"/>
                  </a:lnTo>
                  <a:lnTo>
                    <a:pt x="373" y="1504"/>
                  </a:lnTo>
                  <a:lnTo>
                    <a:pt x="271" y="1474"/>
                  </a:lnTo>
                  <a:lnTo>
                    <a:pt x="173" y="1432"/>
                  </a:lnTo>
                  <a:lnTo>
                    <a:pt x="82" y="1380"/>
                  </a:lnTo>
                  <a:lnTo>
                    <a:pt x="0" y="1322"/>
                  </a:lnTo>
                  <a:lnTo>
                    <a:pt x="42" y="1282"/>
                  </a:lnTo>
                  <a:lnTo>
                    <a:pt x="83" y="1240"/>
                  </a:lnTo>
                  <a:lnTo>
                    <a:pt x="121" y="1196"/>
                  </a:lnTo>
                  <a:lnTo>
                    <a:pt x="158" y="1151"/>
                  </a:lnTo>
                  <a:lnTo>
                    <a:pt x="190" y="1103"/>
                  </a:lnTo>
                  <a:lnTo>
                    <a:pt x="217" y="1055"/>
                  </a:lnTo>
                  <a:lnTo>
                    <a:pt x="240" y="1004"/>
                  </a:lnTo>
                  <a:lnTo>
                    <a:pt x="261" y="953"/>
                  </a:lnTo>
                  <a:lnTo>
                    <a:pt x="274" y="931"/>
                  </a:lnTo>
                  <a:lnTo>
                    <a:pt x="286" y="910"/>
                  </a:lnTo>
                  <a:lnTo>
                    <a:pt x="296" y="884"/>
                  </a:lnTo>
                  <a:lnTo>
                    <a:pt x="305" y="860"/>
                  </a:lnTo>
                  <a:lnTo>
                    <a:pt x="311" y="834"/>
                  </a:lnTo>
                  <a:lnTo>
                    <a:pt x="319" y="807"/>
                  </a:lnTo>
                  <a:lnTo>
                    <a:pt x="326" y="780"/>
                  </a:lnTo>
                  <a:lnTo>
                    <a:pt x="336" y="756"/>
                  </a:lnTo>
                  <a:lnTo>
                    <a:pt x="348" y="711"/>
                  </a:lnTo>
                  <a:lnTo>
                    <a:pt x="357" y="664"/>
                  </a:lnTo>
                  <a:lnTo>
                    <a:pt x="362" y="616"/>
                  </a:lnTo>
                  <a:lnTo>
                    <a:pt x="363" y="569"/>
                  </a:lnTo>
                  <a:lnTo>
                    <a:pt x="362" y="520"/>
                  </a:lnTo>
                  <a:lnTo>
                    <a:pt x="360" y="472"/>
                  </a:lnTo>
                  <a:lnTo>
                    <a:pt x="359" y="422"/>
                  </a:lnTo>
                  <a:lnTo>
                    <a:pt x="360" y="377"/>
                  </a:lnTo>
                  <a:lnTo>
                    <a:pt x="358" y="331"/>
                  </a:lnTo>
                  <a:lnTo>
                    <a:pt x="352" y="288"/>
                  </a:lnTo>
                  <a:lnTo>
                    <a:pt x="341" y="245"/>
                  </a:lnTo>
                  <a:lnTo>
                    <a:pt x="330" y="205"/>
                  </a:lnTo>
                  <a:lnTo>
                    <a:pt x="317" y="163"/>
                  </a:lnTo>
                  <a:lnTo>
                    <a:pt x="307" y="124"/>
                  </a:lnTo>
                  <a:lnTo>
                    <a:pt x="301" y="85"/>
                  </a:lnTo>
                  <a:lnTo>
                    <a:pt x="302" y="47"/>
                  </a:lnTo>
                  <a:lnTo>
                    <a:pt x="364" y="24"/>
                  </a:lnTo>
                  <a:lnTo>
                    <a:pt x="430" y="10"/>
                  </a:lnTo>
                  <a:lnTo>
                    <a:pt x="498" y="1"/>
                  </a:lnTo>
                  <a:lnTo>
                    <a:pt x="570" y="0"/>
                  </a:lnTo>
                  <a:lnTo>
                    <a:pt x="641" y="2"/>
                  </a:lnTo>
                  <a:lnTo>
                    <a:pt x="712" y="11"/>
                  </a:lnTo>
                  <a:lnTo>
                    <a:pt x="782" y="24"/>
                  </a:lnTo>
                  <a:lnTo>
                    <a:pt x="850" y="41"/>
                  </a:lnTo>
                  <a:close/>
                </a:path>
              </a:pathLst>
            </a:custGeom>
            <a:solidFill>
              <a:srgbClr val="FFFF9B"/>
            </a:solidFill>
            <a:ln w="9525">
              <a:noFill/>
              <a:round/>
              <a:headEnd/>
              <a:tailEnd/>
            </a:ln>
          </p:spPr>
          <p:txBody>
            <a:bodyPr/>
            <a:lstStyle/>
            <a:p>
              <a:pPr>
                <a:defRPr/>
              </a:pPr>
              <a:endParaRPr lang="en-US" dirty="0">
                <a:cs typeface="+mn-cs"/>
              </a:endParaRPr>
            </a:p>
          </p:txBody>
        </p:sp>
        <p:sp>
          <p:nvSpPr>
            <p:cNvPr id="98" name="Freeform 1088"/>
            <p:cNvSpPr>
              <a:spLocks/>
            </p:cNvSpPr>
            <p:nvPr/>
          </p:nvSpPr>
          <p:spPr bwMode="auto">
            <a:xfrm>
              <a:off x="2097" y="2531"/>
              <a:ext cx="264" cy="345"/>
            </a:xfrm>
            <a:custGeom>
              <a:avLst/>
              <a:gdLst>
                <a:gd name="T0" fmla="*/ 0 w 1058"/>
                <a:gd name="T1" fmla="*/ 0 h 1382"/>
                <a:gd name="T2" fmla="*/ 0 w 1058"/>
                <a:gd name="T3" fmla="*/ 0 h 1382"/>
                <a:gd name="T4" fmla="*/ 0 w 1058"/>
                <a:gd name="T5" fmla="*/ 0 h 1382"/>
                <a:gd name="T6" fmla="*/ 0 w 1058"/>
                <a:gd name="T7" fmla="*/ 0 h 1382"/>
                <a:gd name="T8" fmla="*/ 0 w 1058"/>
                <a:gd name="T9" fmla="*/ 0 h 1382"/>
                <a:gd name="T10" fmla="*/ 0 w 1058"/>
                <a:gd name="T11" fmla="*/ 0 h 1382"/>
                <a:gd name="T12" fmla="*/ 0 w 1058"/>
                <a:gd name="T13" fmla="*/ 0 h 1382"/>
                <a:gd name="T14" fmla="*/ 0 w 1058"/>
                <a:gd name="T15" fmla="*/ 0 h 1382"/>
                <a:gd name="T16" fmla="*/ 0 w 1058"/>
                <a:gd name="T17" fmla="*/ 0 h 1382"/>
                <a:gd name="T18" fmla="*/ 0 w 1058"/>
                <a:gd name="T19" fmla="*/ 0 h 1382"/>
                <a:gd name="T20" fmla="*/ 0 w 1058"/>
                <a:gd name="T21" fmla="*/ 0 h 1382"/>
                <a:gd name="T22" fmla="*/ 0 w 1058"/>
                <a:gd name="T23" fmla="*/ 0 h 1382"/>
                <a:gd name="T24" fmla="*/ 0 w 1058"/>
                <a:gd name="T25" fmla="*/ 0 h 1382"/>
                <a:gd name="T26" fmla="*/ 0 w 1058"/>
                <a:gd name="T27" fmla="*/ 0 h 1382"/>
                <a:gd name="T28" fmla="*/ 0 w 1058"/>
                <a:gd name="T29" fmla="*/ 0 h 1382"/>
                <a:gd name="T30" fmla="*/ 0 w 1058"/>
                <a:gd name="T31" fmla="*/ 0 h 1382"/>
                <a:gd name="T32" fmla="*/ 0 w 1058"/>
                <a:gd name="T33" fmla="*/ 0 h 1382"/>
                <a:gd name="T34" fmla="*/ 0 w 1058"/>
                <a:gd name="T35" fmla="*/ 0 h 1382"/>
                <a:gd name="T36" fmla="*/ 0 w 1058"/>
                <a:gd name="T37" fmla="*/ 0 h 1382"/>
                <a:gd name="T38" fmla="*/ 0 w 1058"/>
                <a:gd name="T39" fmla="*/ 0 h 1382"/>
                <a:gd name="T40" fmla="*/ 0 w 1058"/>
                <a:gd name="T41" fmla="*/ 0 h 1382"/>
                <a:gd name="T42" fmla="*/ 0 w 1058"/>
                <a:gd name="T43" fmla="*/ 0 h 1382"/>
                <a:gd name="T44" fmla="*/ 0 w 1058"/>
                <a:gd name="T45" fmla="*/ 0 h 1382"/>
                <a:gd name="T46" fmla="*/ 0 w 1058"/>
                <a:gd name="T47" fmla="*/ 0 h 1382"/>
                <a:gd name="T48" fmla="*/ 0 w 1058"/>
                <a:gd name="T49" fmla="*/ 0 h 1382"/>
                <a:gd name="T50" fmla="*/ 0 w 1058"/>
                <a:gd name="T51" fmla="*/ 0 h 1382"/>
                <a:gd name="T52" fmla="*/ 0 w 1058"/>
                <a:gd name="T53" fmla="*/ 0 h 1382"/>
                <a:gd name="T54" fmla="*/ 0 w 1058"/>
                <a:gd name="T55" fmla="*/ 0 h 1382"/>
                <a:gd name="T56" fmla="*/ 0 w 1058"/>
                <a:gd name="T57" fmla="*/ 0 h 1382"/>
                <a:gd name="T58" fmla="*/ 0 w 1058"/>
                <a:gd name="T59" fmla="*/ 0 h 1382"/>
                <a:gd name="T60" fmla="*/ 0 w 1058"/>
                <a:gd name="T61" fmla="*/ 0 h 1382"/>
                <a:gd name="T62" fmla="*/ 0 w 1058"/>
                <a:gd name="T63" fmla="*/ 0 h 1382"/>
                <a:gd name="T64" fmla="*/ 0 w 1058"/>
                <a:gd name="T65" fmla="*/ 0 h 1382"/>
                <a:gd name="T66" fmla="*/ 0 w 1058"/>
                <a:gd name="T67" fmla="*/ 0 h 1382"/>
                <a:gd name="T68" fmla="*/ 0 w 1058"/>
                <a:gd name="T69" fmla="*/ 0 h 1382"/>
                <a:gd name="T70" fmla="*/ 0 w 1058"/>
                <a:gd name="T71" fmla="*/ 0 h 1382"/>
                <a:gd name="T72" fmla="*/ 0 w 1058"/>
                <a:gd name="T73" fmla="*/ 0 h 1382"/>
                <a:gd name="T74" fmla="*/ 0 w 1058"/>
                <a:gd name="T75" fmla="*/ 0 h 1382"/>
                <a:gd name="T76" fmla="*/ 0 w 1058"/>
                <a:gd name="T77" fmla="*/ 0 h 1382"/>
                <a:gd name="T78" fmla="*/ 0 w 1058"/>
                <a:gd name="T79" fmla="*/ 0 h 1382"/>
                <a:gd name="T80" fmla="*/ 0 w 1058"/>
                <a:gd name="T81" fmla="*/ 0 h 1382"/>
                <a:gd name="T82" fmla="*/ 0 w 1058"/>
                <a:gd name="T83" fmla="*/ 0 h 1382"/>
                <a:gd name="T84" fmla="*/ 0 w 1058"/>
                <a:gd name="T85" fmla="*/ 0 h 1382"/>
                <a:gd name="T86" fmla="*/ 0 w 1058"/>
                <a:gd name="T87" fmla="*/ 0 h 1382"/>
                <a:gd name="T88" fmla="*/ 0 w 1058"/>
                <a:gd name="T89" fmla="*/ 0 h 1382"/>
                <a:gd name="T90" fmla="*/ 0 w 1058"/>
                <a:gd name="T91" fmla="*/ 0 h 1382"/>
                <a:gd name="T92" fmla="*/ 0 w 1058"/>
                <a:gd name="T93" fmla="*/ 0 h 1382"/>
                <a:gd name="T94" fmla="*/ 0 w 1058"/>
                <a:gd name="T95" fmla="*/ 0 h 1382"/>
                <a:gd name="T96" fmla="*/ 0 w 1058"/>
                <a:gd name="T97" fmla="*/ 0 h 1382"/>
                <a:gd name="T98" fmla="*/ 0 w 1058"/>
                <a:gd name="T99" fmla="*/ 0 h 1382"/>
                <a:gd name="T100" fmla="*/ 0 w 1058"/>
                <a:gd name="T101" fmla="*/ 0 h 1382"/>
                <a:gd name="T102" fmla="*/ 0 w 1058"/>
                <a:gd name="T103" fmla="*/ 0 h 1382"/>
                <a:gd name="T104" fmla="*/ 0 w 1058"/>
                <a:gd name="T105" fmla="*/ 0 h 138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58"/>
                <a:gd name="T160" fmla="*/ 0 h 1382"/>
                <a:gd name="T161" fmla="*/ 1058 w 1058"/>
                <a:gd name="T162" fmla="*/ 1382 h 138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58" h="1382">
                  <a:moveTo>
                    <a:pt x="773" y="37"/>
                  </a:moveTo>
                  <a:lnTo>
                    <a:pt x="782" y="61"/>
                  </a:lnTo>
                  <a:lnTo>
                    <a:pt x="795" y="88"/>
                  </a:lnTo>
                  <a:lnTo>
                    <a:pt x="810" y="113"/>
                  </a:lnTo>
                  <a:lnTo>
                    <a:pt x="827" y="138"/>
                  </a:lnTo>
                  <a:lnTo>
                    <a:pt x="845" y="161"/>
                  </a:lnTo>
                  <a:lnTo>
                    <a:pt x="865" y="185"/>
                  </a:lnTo>
                  <a:lnTo>
                    <a:pt x="886" y="205"/>
                  </a:lnTo>
                  <a:lnTo>
                    <a:pt x="907" y="226"/>
                  </a:lnTo>
                  <a:lnTo>
                    <a:pt x="930" y="260"/>
                  </a:lnTo>
                  <a:lnTo>
                    <a:pt x="953" y="295"/>
                  </a:lnTo>
                  <a:lnTo>
                    <a:pt x="972" y="332"/>
                  </a:lnTo>
                  <a:lnTo>
                    <a:pt x="989" y="371"/>
                  </a:lnTo>
                  <a:lnTo>
                    <a:pt x="1000" y="409"/>
                  </a:lnTo>
                  <a:lnTo>
                    <a:pt x="1007" y="451"/>
                  </a:lnTo>
                  <a:lnTo>
                    <a:pt x="1007" y="493"/>
                  </a:lnTo>
                  <a:lnTo>
                    <a:pt x="1000" y="536"/>
                  </a:lnTo>
                  <a:lnTo>
                    <a:pt x="1030" y="556"/>
                  </a:lnTo>
                  <a:lnTo>
                    <a:pt x="1013" y="552"/>
                  </a:lnTo>
                  <a:lnTo>
                    <a:pt x="1003" y="556"/>
                  </a:lnTo>
                  <a:lnTo>
                    <a:pt x="997" y="562"/>
                  </a:lnTo>
                  <a:lnTo>
                    <a:pt x="994" y="574"/>
                  </a:lnTo>
                  <a:lnTo>
                    <a:pt x="992" y="585"/>
                  </a:lnTo>
                  <a:lnTo>
                    <a:pt x="991" y="596"/>
                  </a:lnTo>
                  <a:lnTo>
                    <a:pt x="987" y="608"/>
                  </a:lnTo>
                  <a:lnTo>
                    <a:pt x="982" y="617"/>
                  </a:lnTo>
                  <a:lnTo>
                    <a:pt x="976" y="662"/>
                  </a:lnTo>
                  <a:lnTo>
                    <a:pt x="977" y="708"/>
                  </a:lnTo>
                  <a:lnTo>
                    <a:pt x="983" y="749"/>
                  </a:lnTo>
                  <a:lnTo>
                    <a:pt x="994" y="791"/>
                  </a:lnTo>
                  <a:lnTo>
                    <a:pt x="1005" y="830"/>
                  </a:lnTo>
                  <a:lnTo>
                    <a:pt x="1016" y="871"/>
                  </a:lnTo>
                  <a:lnTo>
                    <a:pt x="1025" y="913"/>
                  </a:lnTo>
                  <a:lnTo>
                    <a:pt x="1030" y="958"/>
                  </a:lnTo>
                  <a:lnTo>
                    <a:pt x="1036" y="973"/>
                  </a:lnTo>
                  <a:lnTo>
                    <a:pt x="1044" y="990"/>
                  </a:lnTo>
                  <a:lnTo>
                    <a:pt x="1049" y="1005"/>
                  </a:lnTo>
                  <a:lnTo>
                    <a:pt x="1054" y="1020"/>
                  </a:lnTo>
                  <a:lnTo>
                    <a:pt x="1056" y="1035"/>
                  </a:lnTo>
                  <a:lnTo>
                    <a:pt x="1058" y="1051"/>
                  </a:lnTo>
                  <a:lnTo>
                    <a:pt x="1056" y="1066"/>
                  </a:lnTo>
                  <a:lnTo>
                    <a:pt x="1055" y="1085"/>
                  </a:lnTo>
                  <a:lnTo>
                    <a:pt x="1030" y="1113"/>
                  </a:lnTo>
                  <a:lnTo>
                    <a:pt x="1006" y="1139"/>
                  </a:lnTo>
                  <a:lnTo>
                    <a:pt x="979" y="1163"/>
                  </a:lnTo>
                  <a:lnTo>
                    <a:pt x="954" y="1187"/>
                  </a:lnTo>
                  <a:lnTo>
                    <a:pt x="926" y="1209"/>
                  </a:lnTo>
                  <a:lnTo>
                    <a:pt x="898" y="1229"/>
                  </a:lnTo>
                  <a:lnTo>
                    <a:pt x="869" y="1247"/>
                  </a:lnTo>
                  <a:lnTo>
                    <a:pt x="841" y="1263"/>
                  </a:lnTo>
                  <a:lnTo>
                    <a:pt x="822" y="1264"/>
                  </a:lnTo>
                  <a:lnTo>
                    <a:pt x="807" y="1271"/>
                  </a:lnTo>
                  <a:lnTo>
                    <a:pt x="792" y="1280"/>
                  </a:lnTo>
                  <a:lnTo>
                    <a:pt x="778" y="1292"/>
                  </a:lnTo>
                  <a:lnTo>
                    <a:pt x="764" y="1302"/>
                  </a:lnTo>
                  <a:lnTo>
                    <a:pt x="750" y="1314"/>
                  </a:lnTo>
                  <a:lnTo>
                    <a:pt x="735" y="1323"/>
                  </a:lnTo>
                  <a:lnTo>
                    <a:pt x="720" y="1329"/>
                  </a:lnTo>
                  <a:lnTo>
                    <a:pt x="626" y="1364"/>
                  </a:lnTo>
                  <a:lnTo>
                    <a:pt x="531" y="1381"/>
                  </a:lnTo>
                  <a:lnTo>
                    <a:pt x="434" y="1382"/>
                  </a:lnTo>
                  <a:lnTo>
                    <a:pt x="339" y="1368"/>
                  </a:lnTo>
                  <a:lnTo>
                    <a:pt x="245" y="1340"/>
                  </a:lnTo>
                  <a:lnTo>
                    <a:pt x="157" y="1302"/>
                  </a:lnTo>
                  <a:lnTo>
                    <a:pt x="75" y="1256"/>
                  </a:lnTo>
                  <a:lnTo>
                    <a:pt x="0" y="1202"/>
                  </a:lnTo>
                  <a:lnTo>
                    <a:pt x="38" y="1165"/>
                  </a:lnTo>
                  <a:lnTo>
                    <a:pt x="76" y="1127"/>
                  </a:lnTo>
                  <a:lnTo>
                    <a:pt x="110" y="1087"/>
                  </a:lnTo>
                  <a:lnTo>
                    <a:pt x="143" y="1047"/>
                  </a:lnTo>
                  <a:lnTo>
                    <a:pt x="172" y="1004"/>
                  </a:lnTo>
                  <a:lnTo>
                    <a:pt x="197" y="960"/>
                  </a:lnTo>
                  <a:lnTo>
                    <a:pt x="219" y="913"/>
                  </a:lnTo>
                  <a:lnTo>
                    <a:pt x="237" y="866"/>
                  </a:lnTo>
                  <a:lnTo>
                    <a:pt x="249" y="847"/>
                  </a:lnTo>
                  <a:lnTo>
                    <a:pt x="261" y="827"/>
                  </a:lnTo>
                  <a:lnTo>
                    <a:pt x="268" y="804"/>
                  </a:lnTo>
                  <a:lnTo>
                    <a:pt x="277" y="782"/>
                  </a:lnTo>
                  <a:lnTo>
                    <a:pt x="282" y="758"/>
                  </a:lnTo>
                  <a:lnTo>
                    <a:pt x="290" y="736"/>
                  </a:lnTo>
                  <a:lnTo>
                    <a:pt x="296" y="711"/>
                  </a:lnTo>
                  <a:lnTo>
                    <a:pt x="305" y="689"/>
                  </a:lnTo>
                  <a:lnTo>
                    <a:pt x="316" y="646"/>
                  </a:lnTo>
                  <a:lnTo>
                    <a:pt x="324" y="604"/>
                  </a:lnTo>
                  <a:lnTo>
                    <a:pt x="328" y="561"/>
                  </a:lnTo>
                  <a:lnTo>
                    <a:pt x="329" y="518"/>
                  </a:lnTo>
                  <a:lnTo>
                    <a:pt x="328" y="472"/>
                  </a:lnTo>
                  <a:lnTo>
                    <a:pt x="326" y="428"/>
                  </a:lnTo>
                  <a:lnTo>
                    <a:pt x="326" y="384"/>
                  </a:lnTo>
                  <a:lnTo>
                    <a:pt x="328" y="342"/>
                  </a:lnTo>
                  <a:lnTo>
                    <a:pt x="325" y="300"/>
                  </a:lnTo>
                  <a:lnTo>
                    <a:pt x="320" y="262"/>
                  </a:lnTo>
                  <a:lnTo>
                    <a:pt x="310" y="223"/>
                  </a:lnTo>
                  <a:lnTo>
                    <a:pt x="300" y="186"/>
                  </a:lnTo>
                  <a:lnTo>
                    <a:pt x="288" y="148"/>
                  </a:lnTo>
                  <a:lnTo>
                    <a:pt x="280" y="113"/>
                  </a:lnTo>
                  <a:lnTo>
                    <a:pt x="273" y="76"/>
                  </a:lnTo>
                  <a:lnTo>
                    <a:pt x="275" y="42"/>
                  </a:lnTo>
                  <a:lnTo>
                    <a:pt x="330" y="22"/>
                  </a:lnTo>
                  <a:lnTo>
                    <a:pt x="391" y="9"/>
                  </a:lnTo>
                  <a:lnTo>
                    <a:pt x="454" y="0"/>
                  </a:lnTo>
                  <a:lnTo>
                    <a:pt x="519" y="0"/>
                  </a:lnTo>
                  <a:lnTo>
                    <a:pt x="583" y="3"/>
                  </a:lnTo>
                  <a:lnTo>
                    <a:pt x="648" y="10"/>
                  </a:lnTo>
                  <a:lnTo>
                    <a:pt x="710" y="22"/>
                  </a:lnTo>
                  <a:lnTo>
                    <a:pt x="773" y="37"/>
                  </a:lnTo>
                  <a:close/>
                </a:path>
              </a:pathLst>
            </a:custGeom>
            <a:solidFill>
              <a:srgbClr val="FFFFA4"/>
            </a:solidFill>
            <a:ln w="9525">
              <a:noFill/>
              <a:round/>
              <a:headEnd/>
              <a:tailEnd/>
            </a:ln>
          </p:spPr>
          <p:txBody>
            <a:bodyPr/>
            <a:lstStyle/>
            <a:p>
              <a:pPr>
                <a:defRPr/>
              </a:pPr>
              <a:endParaRPr lang="en-US" dirty="0">
                <a:cs typeface="+mn-cs"/>
              </a:endParaRPr>
            </a:p>
          </p:txBody>
        </p:sp>
        <p:sp>
          <p:nvSpPr>
            <p:cNvPr id="99" name="Freeform 1089"/>
            <p:cNvSpPr>
              <a:spLocks/>
            </p:cNvSpPr>
            <p:nvPr/>
          </p:nvSpPr>
          <p:spPr bwMode="auto">
            <a:xfrm>
              <a:off x="2110" y="2548"/>
              <a:ext cx="238" cy="311"/>
            </a:xfrm>
            <a:custGeom>
              <a:avLst/>
              <a:gdLst>
                <a:gd name="T0" fmla="*/ 0 w 952"/>
                <a:gd name="T1" fmla="*/ 0 h 1242"/>
                <a:gd name="T2" fmla="*/ 0 w 952"/>
                <a:gd name="T3" fmla="*/ 0 h 1242"/>
                <a:gd name="T4" fmla="*/ 0 w 952"/>
                <a:gd name="T5" fmla="*/ 0 h 1242"/>
                <a:gd name="T6" fmla="*/ 0 w 952"/>
                <a:gd name="T7" fmla="*/ 0 h 1242"/>
                <a:gd name="T8" fmla="*/ 0 w 952"/>
                <a:gd name="T9" fmla="*/ 0 h 1242"/>
                <a:gd name="T10" fmla="*/ 0 w 952"/>
                <a:gd name="T11" fmla="*/ 0 h 1242"/>
                <a:gd name="T12" fmla="*/ 0 w 952"/>
                <a:gd name="T13" fmla="*/ 0 h 1242"/>
                <a:gd name="T14" fmla="*/ 0 w 952"/>
                <a:gd name="T15" fmla="*/ 0 h 1242"/>
                <a:gd name="T16" fmla="*/ 0 w 952"/>
                <a:gd name="T17" fmla="*/ 0 h 1242"/>
                <a:gd name="T18" fmla="*/ 0 w 952"/>
                <a:gd name="T19" fmla="*/ 0 h 1242"/>
                <a:gd name="T20" fmla="*/ 0 w 952"/>
                <a:gd name="T21" fmla="*/ 0 h 1242"/>
                <a:gd name="T22" fmla="*/ 0 w 952"/>
                <a:gd name="T23" fmla="*/ 0 h 1242"/>
                <a:gd name="T24" fmla="*/ 0 w 952"/>
                <a:gd name="T25" fmla="*/ 0 h 1242"/>
                <a:gd name="T26" fmla="*/ 0 w 952"/>
                <a:gd name="T27" fmla="*/ 0 h 1242"/>
                <a:gd name="T28" fmla="*/ 0 w 952"/>
                <a:gd name="T29" fmla="*/ 0 h 1242"/>
                <a:gd name="T30" fmla="*/ 0 w 952"/>
                <a:gd name="T31" fmla="*/ 0 h 1242"/>
                <a:gd name="T32" fmla="*/ 0 w 952"/>
                <a:gd name="T33" fmla="*/ 0 h 1242"/>
                <a:gd name="T34" fmla="*/ 0 w 952"/>
                <a:gd name="T35" fmla="*/ 0 h 1242"/>
                <a:gd name="T36" fmla="*/ 0 w 952"/>
                <a:gd name="T37" fmla="*/ 0 h 1242"/>
                <a:gd name="T38" fmla="*/ 0 w 952"/>
                <a:gd name="T39" fmla="*/ 0 h 1242"/>
                <a:gd name="T40" fmla="*/ 0 w 952"/>
                <a:gd name="T41" fmla="*/ 0 h 1242"/>
                <a:gd name="T42" fmla="*/ 0 w 952"/>
                <a:gd name="T43" fmla="*/ 0 h 1242"/>
                <a:gd name="T44" fmla="*/ 0 w 952"/>
                <a:gd name="T45" fmla="*/ 0 h 1242"/>
                <a:gd name="T46" fmla="*/ 0 w 952"/>
                <a:gd name="T47" fmla="*/ 0 h 1242"/>
                <a:gd name="T48" fmla="*/ 0 w 952"/>
                <a:gd name="T49" fmla="*/ 0 h 1242"/>
                <a:gd name="T50" fmla="*/ 0 w 952"/>
                <a:gd name="T51" fmla="*/ 0 h 1242"/>
                <a:gd name="T52" fmla="*/ 0 w 952"/>
                <a:gd name="T53" fmla="*/ 0 h 1242"/>
                <a:gd name="T54" fmla="*/ 0 w 952"/>
                <a:gd name="T55" fmla="*/ 0 h 1242"/>
                <a:gd name="T56" fmla="*/ 0 w 952"/>
                <a:gd name="T57" fmla="*/ 0 h 1242"/>
                <a:gd name="T58" fmla="*/ 0 w 952"/>
                <a:gd name="T59" fmla="*/ 0 h 1242"/>
                <a:gd name="T60" fmla="*/ 0 w 952"/>
                <a:gd name="T61" fmla="*/ 0 h 1242"/>
                <a:gd name="T62" fmla="*/ 0 w 952"/>
                <a:gd name="T63" fmla="*/ 0 h 1242"/>
                <a:gd name="T64" fmla="*/ 0 w 952"/>
                <a:gd name="T65" fmla="*/ 0 h 1242"/>
                <a:gd name="T66" fmla="*/ 0 w 952"/>
                <a:gd name="T67" fmla="*/ 0 h 1242"/>
                <a:gd name="T68" fmla="*/ 0 w 952"/>
                <a:gd name="T69" fmla="*/ 0 h 1242"/>
                <a:gd name="T70" fmla="*/ 0 w 952"/>
                <a:gd name="T71" fmla="*/ 0 h 1242"/>
                <a:gd name="T72" fmla="*/ 0 w 952"/>
                <a:gd name="T73" fmla="*/ 0 h 1242"/>
                <a:gd name="T74" fmla="*/ 0 w 952"/>
                <a:gd name="T75" fmla="*/ 0 h 1242"/>
                <a:gd name="T76" fmla="*/ 0 w 952"/>
                <a:gd name="T77" fmla="*/ 0 h 1242"/>
                <a:gd name="T78" fmla="*/ 0 w 952"/>
                <a:gd name="T79" fmla="*/ 0 h 1242"/>
                <a:gd name="T80" fmla="*/ 0 w 952"/>
                <a:gd name="T81" fmla="*/ 0 h 1242"/>
                <a:gd name="T82" fmla="*/ 0 w 952"/>
                <a:gd name="T83" fmla="*/ 0 h 1242"/>
                <a:gd name="T84" fmla="*/ 0 w 952"/>
                <a:gd name="T85" fmla="*/ 0 h 1242"/>
                <a:gd name="T86" fmla="*/ 0 w 952"/>
                <a:gd name="T87" fmla="*/ 0 h 1242"/>
                <a:gd name="T88" fmla="*/ 0 w 952"/>
                <a:gd name="T89" fmla="*/ 0 h 1242"/>
                <a:gd name="T90" fmla="*/ 0 w 952"/>
                <a:gd name="T91" fmla="*/ 0 h 1242"/>
                <a:gd name="T92" fmla="*/ 0 w 952"/>
                <a:gd name="T93" fmla="*/ 0 h 1242"/>
                <a:gd name="T94" fmla="*/ 0 w 952"/>
                <a:gd name="T95" fmla="*/ 0 h 1242"/>
                <a:gd name="T96" fmla="*/ 0 w 952"/>
                <a:gd name="T97" fmla="*/ 0 h 1242"/>
                <a:gd name="T98" fmla="*/ 0 w 952"/>
                <a:gd name="T99" fmla="*/ 0 h 1242"/>
                <a:gd name="T100" fmla="*/ 0 w 952"/>
                <a:gd name="T101" fmla="*/ 0 h 1242"/>
                <a:gd name="T102" fmla="*/ 0 w 952"/>
                <a:gd name="T103" fmla="*/ 0 h 1242"/>
                <a:gd name="T104" fmla="*/ 0 w 952"/>
                <a:gd name="T105" fmla="*/ 0 h 12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52"/>
                <a:gd name="T160" fmla="*/ 0 h 1242"/>
                <a:gd name="T161" fmla="*/ 952 w 952"/>
                <a:gd name="T162" fmla="*/ 1242 h 12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52" h="1242">
                  <a:moveTo>
                    <a:pt x="695" y="34"/>
                  </a:moveTo>
                  <a:lnTo>
                    <a:pt x="702" y="55"/>
                  </a:lnTo>
                  <a:lnTo>
                    <a:pt x="715" y="78"/>
                  </a:lnTo>
                  <a:lnTo>
                    <a:pt x="728" y="101"/>
                  </a:lnTo>
                  <a:lnTo>
                    <a:pt x="744" y="124"/>
                  </a:lnTo>
                  <a:lnTo>
                    <a:pt x="759" y="145"/>
                  </a:lnTo>
                  <a:lnTo>
                    <a:pt x="778" y="167"/>
                  </a:lnTo>
                  <a:lnTo>
                    <a:pt x="797" y="184"/>
                  </a:lnTo>
                  <a:lnTo>
                    <a:pt x="816" y="203"/>
                  </a:lnTo>
                  <a:lnTo>
                    <a:pt x="836" y="234"/>
                  </a:lnTo>
                  <a:lnTo>
                    <a:pt x="857" y="267"/>
                  </a:lnTo>
                  <a:lnTo>
                    <a:pt x="874" y="300"/>
                  </a:lnTo>
                  <a:lnTo>
                    <a:pt x="890" y="335"/>
                  </a:lnTo>
                  <a:lnTo>
                    <a:pt x="900" y="369"/>
                  </a:lnTo>
                  <a:lnTo>
                    <a:pt x="906" y="406"/>
                  </a:lnTo>
                  <a:lnTo>
                    <a:pt x="905" y="443"/>
                  </a:lnTo>
                  <a:lnTo>
                    <a:pt x="898" y="482"/>
                  </a:lnTo>
                  <a:lnTo>
                    <a:pt x="926" y="501"/>
                  </a:lnTo>
                  <a:lnTo>
                    <a:pt x="911" y="497"/>
                  </a:lnTo>
                  <a:lnTo>
                    <a:pt x="902" y="501"/>
                  </a:lnTo>
                  <a:lnTo>
                    <a:pt x="896" y="506"/>
                  </a:lnTo>
                  <a:lnTo>
                    <a:pt x="895" y="516"/>
                  </a:lnTo>
                  <a:lnTo>
                    <a:pt x="892" y="526"/>
                  </a:lnTo>
                  <a:lnTo>
                    <a:pt x="891" y="537"/>
                  </a:lnTo>
                  <a:lnTo>
                    <a:pt x="888" y="548"/>
                  </a:lnTo>
                  <a:lnTo>
                    <a:pt x="883" y="555"/>
                  </a:lnTo>
                  <a:lnTo>
                    <a:pt x="877" y="597"/>
                  </a:lnTo>
                  <a:lnTo>
                    <a:pt x="879" y="636"/>
                  </a:lnTo>
                  <a:lnTo>
                    <a:pt x="885" y="674"/>
                  </a:lnTo>
                  <a:lnTo>
                    <a:pt x="895" y="712"/>
                  </a:lnTo>
                  <a:lnTo>
                    <a:pt x="904" y="748"/>
                  </a:lnTo>
                  <a:lnTo>
                    <a:pt x="914" y="784"/>
                  </a:lnTo>
                  <a:lnTo>
                    <a:pt x="921" y="822"/>
                  </a:lnTo>
                  <a:lnTo>
                    <a:pt x="926" y="863"/>
                  </a:lnTo>
                  <a:lnTo>
                    <a:pt x="933" y="877"/>
                  </a:lnTo>
                  <a:lnTo>
                    <a:pt x="939" y="891"/>
                  </a:lnTo>
                  <a:lnTo>
                    <a:pt x="943" y="904"/>
                  </a:lnTo>
                  <a:lnTo>
                    <a:pt x="948" y="918"/>
                  </a:lnTo>
                  <a:lnTo>
                    <a:pt x="950" y="931"/>
                  </a:lnTo>
                  <a:lnTo>
                    <a:pt x="952" y="945"/>
                  </a:lnTo>
                  <a:lnTo>
                    <a:pt x="950" y="960"/>
                  </a:lnTo>
                  <a:lnTo>
                    <a:pt x="949" y="977"/>
                  </a:lnTo>
                  <a:lnTo>
                    <a:pt x="926" y="1002"/>
                  </a:lnTo>
                  <a:lnTo>
                    <a:pt x="904" y="1026"/>
                  </a:lnTo>
                  <a:lnTo>
                    <a:pt x="881" y="1047"/>
                  </a:lnTo>
                  <a:lnTo>
                    <a:pt x="858" y="1069"/>
                  </a:lnTo>
                  <a:lnTo>
                    <a:pt x="833" y="1087"/>
                  </a:lnTo>
                  <a:lnTo>
                    <a:pt x="807" y="1106"/>
                  </a:lnTo>
                  <a:lnTo>
                    <a:pt x="782" y="1121"/>
                  </a:lnTo>
                  <a:lnTo>
                    <a:pt x="757" y="1137"/>
                  </a:lnTo>
                  <a:lnTo>
                    <a:pt x="740" y="1137"/>
                  </a:lnTo>
                  <a:lnTo>
                    <a:pt x="725" y="1144"/>
                  </a:lnTo>
                  <a:lnTo>
                    <a:pt x="711" y="1151"/>
                  </a:lnTo>
                  <a:lnTo>
                    <a:pt x="700" y="1163"/>
                  </a:lnTo>
                  <a:lnTo>
                    <a:pt x="687" y="1173"/>
                  </a:lnTo>
                  <a:lnTo>
                    <a:pt x="675" y="1183"/>
                  </a:lnTo>
                  <a:lnTo>
                    <a:pt x="661" y="1189"/>
                  </a:lnTo>
                  <a:lnTo>
                    <a:pt x="647" y="1195"/>
                  </a:lnTo>
                  <a:lnTo>
                    <a:pt x="563" y="1226"/>
                  </a:lnTo>
                  <a:lnTo>
                    <a:pt x="477" y="1242"/>
                  </a:lnTo>
                  <a:lnTo>
                    <a:pt x="391" y="1242"/>
                  </a:lnTo>
                  <a:lnTo>
                    <a:pt x="305" y="1231"/>
                  </a:lnTo>
                  <a:lnTo>
                    <a:pt x="222" y="1206"/>
                  </a:lnTo>
                  <a:lnTo>
                    <a:pt x="142" y="1171"/>
                  </a:lnTo>
                  <a:lnTo>
                    <a:pt x="67" y="1130"/>
                  </a:lnTo>
                  <a:lnTo>
                    <a:pt x="0" y="1082"/>
                  </a:lnTo>
                  <a:lnTo>
                    <a:pt x="34" y="1047"/>
                  </a:lnTo>
                  <a:lnTo>
                    <a:pt x="68" y="1015"/>
                  </a:lnTo>
                  <a:lnTo>
                    <a:pt x="99" y="979"/>
                  </a:lnTo>
                  <a:lnTo>
                    <a:pt x="129" y="942"/>
                  </a:lnTo>
                  <a:lnTo>
                    <a:pt x="155" y="903"/>
                  </a:lnTo>
                  <a:lnTo>
                    <a:pt x="177" y="863"/>
                  </a:lnTo>
                  <a:lnTo>
                    <a:pt x="196" y="821"/>
                  </a:lnTo>
                  <a:lnTo>
                    <a:pt x="213" y="779"/>
                  </a:lnTo>
                  <a:lnTo>
                    <a:pt x="224" y="761"/>
                  </a:lnTo>
                  <a:lnTo>
                    <a:pt x="234" y="744"/>
                  </a:lnTo>
                  <a:lnTo>
                    <a:pt x="242" y="723"/>
                  </a:lnTo>
                  <a:lnTo>
                    <a:pt x="249" y="705"/>
                  </a:lnTo>
                  <a:lnTo>
                    <a:pt x="254" y="683"/>
                  </a:lnTo>
                  <a:lnTo>
                    <a:pt x="260" y="661"/>
                  </a:lnTo>
                  <a:lnTo>
                    <a:pt x="266" y="639"/>
                  </a:lnTo>
                  <a:lnTo>
                    <a:pt x="275" y="620"/>
                  </a:lnTo>
                  <a:lnTo>
                    <a:pt x="285" y="582"/>
                  </a:lnTo>
                  <a:lnTo>
                    <a:pt x="291" y="544"/>
                  </a:lnTo>
                  <a:lnTo>
                    <a:pt x="295" y="505"/>
                  </a:lnTo>
                  <a:lnTo>
                    <a:pt x="296" y="465"/>
                  </a:lnTo>
                  <a:lnTo>
                    <a:pt x="295" y="425"/>
                  </a:lnTo>
                  <a:lnTo>
                    <a:pt x="294" y="386"/>
                  </a:lnTo>
                  <a:lnTo>
                    <a:pt x="294" y="346"/>
                  </a:lnTo>
                  <a:lnTo>
                    <a:pt x="295" y="308"/>
                  </a:lnTo>
                  <a:lnTo>
                    <a:pt x="292" y="270"/>
                  </a:lnTo>
                  <a:lnTo>
                    <a:pt x="287" y="236"/>
                  </a:lnTo>
                  <a:lnTo>
                    <a:pt x="278" y="201"/>
                  </a:lnTo>
                  <a:lnTo>
                    <a:pt x="270" y="168"/>
                  </a:lnTo>
                  <a:lnTo>
                    <a:pt x="260" y="134"/>
                  </a:lnTo>
                  <a:lnTo>
                    <a:pt x="252" y="102"/>
                  </a:lnTo>
                  <a:lnTo>
                    <a:pt x="246" y="69"/>
                  </a:lnTo>
                  <a:lnTo>
                    <a:pt x="247" y="39"/>
                  </a:lnTo>
                  <a:lnTo>
                    <a:pt x="297" y="20"/>
                  </a:lnTo>
                  <a:lnTo>
                    <a:pt x="352" y="9"/>
                  </a:lnTo>
                  <a:lnTo>
                    <a:pt x="408" y="1"/>
                  </a:lnTo>
                  <a:lnTo>
                    <a:pt x="466" y="0"/>
                  </a:lnTo>
                  <a:lnTo>
                    <a:pt x="523" y="2"/>
                  </a:lnTo>
                  <a:lnTo>
                    <a:pt x="582" y="9"/>
                  </a:lnTo>
                  <a:lnTo>
                    <a:pt x="638" y="19"/>
                  </a:lnTo>
                  <a:lnTo>
                    <a:pt x="695" y="34"/>
                  </a:lnTo>
                  <a:close/>
                </a:path>
              </a:pathLst>
            </a:custGeom>
            <a:solidFill>
              <a:srgbClr val="FFFFAD"/>
            </a:solidFill>
            <a:ln w="9525">
              <a:noFill/>
              <a:round/>
              <a:headEnd/>
              <a:tailEnd/>
            </a:ln>
          </p:spPr>
          <p:txBody>
            <a:bodyPr/>
            <a:lstStyle/>
            <a:p>
              <a:pPr>
                <a:defRPr/>
              </a:pPr>
              <a:endParaRPr lang="en-US" dirty="0">
                <a:cs typeface="+mn-cs"/>
              </a:endParaRPr>
            </a:p>
          </p:txBody>
        </p:sp>
        <p:sp>
          <p:nvSpPr>
            <p:cNvPr id="100" name="Freeform 1090"/>
            <p:cNvSpPr>
              <a:spLocks/>
            </p:cNvSpPr>
            <p:nvPr/>
          </p:nvSpPr>
          <p:spPr bwMode="auto">
            <a:xfrm>
              <a:off x="2123" y="2565"/>
              <a:ext cx="211" cy="276"/>
            </a:xfrm>
            <a:custGeom>
              <a:avLst/>
              <a:gdLst>
                <a:gd name="T0" fmla="*/ 0 w 846"/>
                <a:gd name="T1" fmla="*/ 0 h 1105"/>
                <a:gd name="T2" fmla="*/ 0 w 846"/>
                <a:gd name="T3" fmla="*/ 0 h 1105"/>
                <a:gd name="T4" fmla="*/ 0 w 846"/>
                <a:gd name="T5" fmla="*/ 0 h 1105"/>
                <a:gd name="T6" fmla="*/ 0 w 846"/>
                <a:gd name="T7" fmla="*/ 0 h 1105"/>
                <a:gd name="T8" fmla="*/ 0 w 846"/>
                <a:gd name="T9" fmla="*/ 0 h 1105"/>
                <a:gd name="T10" fmla="*/ 0 w 846"/>
                <a:gd name="T11" fmla="*/ 0 h 1105"/>
                <a:gd name="T12" fmla="*/ 0 w 846"/>
                <a:gd name="T13" fmla="*/ 0 h 1105"/>
                <a:gd name="T14" fmla="*/ 0 w 846"/>
                <a:gd name="T15" fmla="*/ 0 h 1105"/>
                <a:gd name="T16" fmla="*/ 0 w 846"/>
                <a:gd name="T17" fmla="*/ 0 h 1105"/>
                <a:gd name="T18" fmla="*/ 0 w 846"/>
                <a:gd name="T19" fmla="*/ 0 h 1105"/>
                <a:gd name="T20" fmla="*/ 0 w 846"/>
                <a:gd name="T21" fmla="*/ 0 h 1105"/>
                <a:gd name="T22" fmla="*/ 0 w 846"/>
                <a:gd name="T23" fmla="*/ 0 h 1105"/>
                <a:gd name="T24" fmla="*/ 0 w 846"/>
                <a:gd name="T25" fmla="*/ 0 h 1105"/>
                <a:gd name="T26" fmla="*/ 0 w 846"/>
                <a:gd name="T27" fmla="*/ 0 h 1105"/>
                <a:gd name="T28" fmla="*/ 0 w 846"/>
                <a:gd name="T29" fmla="*/ 0 h 1105"/>
                <a:gd name="T30" fmla="*/ 0 w 846"/>
                <a:gd name="T31" fmla="*/ 0 h 1105"/>
                <a:gd name="T32" fmla="*/ 0 w 846"/>
                <a:gd name="T33" fmla="*/ 0 h 1105"/>
                <a:gd name="T34" fmla="*/ 0 w 846"/>
                <a:gd name="T35" fmla="*/ 0 h 1105"/>
                <a:gd name="T36" fmla="*/ 0 w 846"/>
                <a:gd name="T37" fmla="*/ 0 h 1105"/>
                <a:gd name="T38" fmla="*/ 0 w 846"/>
                <a:gd name="T39" fmla="*/ 0 h 1105"/>
                <a:gd name="T40" fmla="*/ 0 w 846"/>
                <a:gd name="T41" fmla="*/ 0 h 1105"/>
                <a:gd name="T42" fmla="*/ 0 w 846"/>
                <a:gd name="T43" fmla="*/ 0 h 1105"/>
                <a:gd name="T44" fmla="*/ 0 w 846"/>
                <a:gd name="T45" fmla="*/ 0 h 1105"/>
                <a:gd name="T46" fmla="*/ 0 w 846"/>
                <a:gd name="T47" fmla="*/ 0 h 1105"/>
                <a:gd name="T48" fmla="*/ 0 w 846"/>
                <a:gd name="T49" fmla="*/ 0 h 1105"/>
                <a:gd name="T50" fmla="*/ 0 w 846"/>
                <a:gd name="T51" fmla="*/ 0 h 1105"/>
                <a:gd name="T52" fmla="*/ 0 w 846"/>
                <a:gd name="T53" fmla="*/ 0 h 1105"/>
                <a:gd name="T54" fmla="*/ 0 w 846"/>
                <a:gd name="T55" fmla="*/ 0 h 1105"/>
                <a:gd name="T56" fmla="*/ 0 w 846"/>
                <a:gd name="T57" fmla="*/ 0 h 1105"/>
                <a:gd name="T58" fmla="*/ 0 w 846"/>
                <a:gd name="T59" fmla="*/ 0 h 1105"/>
                <a:gd name="T60" fmla="*/ 0 w 846"/>
                <a:gd name="T61" fmla="*/ 0 h 1105"/>
                <a:gd name="T62" fmla="*/ 0 w 846"/>
                <a:gd name="T63" fmla="*/ 0 h 1105"/>
                <a:gd name="T64" fmla="*/ 0 w 846"/>
                <a:gd name="T65" fmla="*/ 0 h 1105"/>
                <a:gd name="T66" fmla="*/ 0 w 846"/>
                <a:gd name="T67" fmla="*/ 0 h 1105"/>
                <a:gd name="T68" fmla="*/ 0 w 846"/>
                <a:gd name="T69" fmla="*/ 0 h 1105"/>
                <a:gd name="T70" fmla="*/ 0 w 846"/>
                <a:gd name="T71" fmla="*/ 0 h 1105"/>
                <a:gd name="T72" fmla="*/ 0 w 846"/>
                <a:gd name="T73" fmla="*/ 0 h 1105"/>
                <a:gd name="T74" fmla="*/ 0 w 846"/>
                <a:gd name="T75" fmla="*/ 0 h 1105"/>
                <a:gd name="T76" fmla="*/ 0 w 846"/>
                <a:gd name="T77" fmla="*/ 0 h 1105"/>
                <a:gd name="T78" fmla="*/ 0 w 846"/>
                <a:gd name="T79" fmla="*/ 0 h 1105"/>
                <a:gd name="T80" fmla="*/ 0 w 846"/>
                <a:gd name="T81" fmla="*/ 0 h 1105"/>
                <a:gd name="T82" fmla="*/ 0 w 846"/>
                <a:gd name="T83" fmla="*/ 0 h 1105"/>
                <a:gd name="T84" fmla="*/ 0 w 846"/>
                <a:gd name="T85" fmla="*/ 0 h 1105"/>
                <a:gd name="T86" fmla="*/ 0 w 846"/>
                <a:gd name="T87" fmla="*/ 0 h 1105"/>
                <a:gd name="T88" fmla="*/ 0 w 846"/>
                <a:gd name="T89" fmla="*/ 0 h 1105"/>
                <a:gd name="T90" fmla="*/ 0 w 846"/>
                <a:gd name="T91" fmla="*/ 0 h 1105"/>
                <a:gd name="T92" fmla="*/ 0 w 846"/>
                <a:gd name="T93" fmla="*/ 0 h 1105"/>
                <a:gd name="T94" fmla="*/ 0 w 846"/>
                <a:gd name="T95" fmla="*/ 0 h 1105"/>
                <a:gd name="T96" fmla="*/ 0 w 846"/>
                <a:gd name="T97" fmla="*/ 0 h 1105"/>
                <a:gd name="T98" fmla="*/ 0 w 846"/>
                <a:gd name="T99" fmla="*/ 0 h 1105"/>
                <a:gd name="T100" fmla="*/ 0 w 846"/>
                <a:gd name="T101" fmla="*/ 0 h 1105"/>
                <a:gd name="T102" fmla="*/ 0 w 846"/>
                <a:gd name="T103" fmla="*/ 0 h 1105"/>
                <a:gd name="T104" fmla="*/ 0 w 846"/>
                <a:gd name="T105" fmla="*/ 0 h 11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6"/>
                <a:gd name="T160" fmla="*/ 0 h 1105"/>
                <a:gd name="T161" fmla="*/ 846 w 846"/>
                <a:gd name="T162" fmla="*/ 1105 h 110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6" h="1105">
                  <a:moveTo>
                    <a:pt x="619" y="31"/>
                  </a:moveTo>
                  <a:lnTo>
                    <a:pt x="625" y="50"/>
                  </a:lnTo>
                  <a:lnTo>
                    <a:pt x="636" y="70"/>
                  </a:lnTo>
                  <a:lnTo>
                    <a:pt x="648" y="90"/>
                  </a:lnTo>
                  <a:lnTo>
                    <a:pt x="663" y="110"/>
                  </a:lnTo>
                  <a:lnTo>
                    <a:pt x="677" y="128"/>
                  </a:lnTo>
                  <a:lnTo>
                    <a:pt x="692" y="147"/>
                  </a:lnTo>
                  <a:lnTo>
                    <a:pt x="709" y="165"/>
                  </a:lnTo>
                  <a:lnTo>
                    <a:pt x="726" y="181"/>
                  </a:lnTo>
                  <a:lnTo>
                    <a:pt x="744" y="208"/>
                  </a:lnTo>
                  <a:lnTo>
                    <a:pt x="763" y="237"/>
                  </a:lnTo>
                  <a:lnTo>
                    <a:pt x="778" y="266"/>
                  </a:lnTo>
                  <a:lnTo>
                    <a:pt x="792" y="298"/>
                  </a:lnTo>
                  <a:lnTo>
                    <a:pt x="801" y="328"/>
                  </a:lnTo>
                  <a:lnTo>
                    <a:pt x="806" y="361"/>
                  </a:lnTo>
                  <a:lnTo>
                    <a:pt x="805" y="394"/>
                  </a:lnTo>
                  <a:lnTo>
                    <a:pt x="800" y="429"/>
                  </a:lnTo>
                  <a:lnTo>
                    <a:pt x="824" y="446"/>
                  </a:lnTo>
                  <a:lnTo>
                    <a:pt x="811" y="442"/>
                  </a:lnTo>
                  <a:lnTo>
                    <a:pt x="802" y="444"/>
                  </a:lnTo>
                  <a:lnTo>
                    <a:pt x="797" y="451"/>
                  </a:lnTo>
                  <a:lnTo>
                    <a:pt x="796" y="460"/>
                  </a:lnTo>
                  <a:lnTo>
                    <a:pt x="793" y="467"/>
                  </a:lnTo>
                  <a:lnTo>
                    <a:pt x="792" y="477"/>
                  </a:lnTo>
                  <a:lnTo>
                    <a:pt x="790" y="486"/>
                  </a:lnTo>
                  <a:lnTo>
                    <a:pt x="786" y="494"/>
                  </a:lnTo>
                  <a:lnTo>
                    <a:pt x="781" y="530"/>
                  </a:lnTo>
                  <a:lnTo>
                    <a:pt x="782" y="566"/>
                  </a:lnTo>
                  <a:lnTo>
                    <a:pt x="786" y="599"/>
                  </a:lnTo>
                  <a:lnTo>
                    <a:pt x="795" y="633"/>
                  </a:lnTo>
                  <a:lnTo>
                    <a:pt x="803" y="665"/>
                  </a:lnTo>
                  <a:lnTo>
                    <a:pt x="812" y="698"/>
                  </a:lnTo>
                  <a:lnTo>
                    <a:pt x="819" y="732"/>
                  </a:lnTo>
                  <a:lnTo>
                    <a:pt x="824" y="767"/>
                  </a:lnTo>
                  <a:lnTo>
                    <a:pt x="829" y="778"/>
                  </a:lnTo>
                  <a:lnTo>
                    <a:pt x="835" y="791"/>
                  </a:lnTo>
                  <a:lnTo>
                    <a:pt x="839" y="803"/>
                  </a:lnTo>
                  <a:lnTo>
                    <a:pt x="844" y="815"/>
                  </a:lnTo>
                  <a:lnTo>
                    <a:pt x="845" y="827"/>
                  </a:lnTo>
                  <a:lnTo>
                    <a:pt x="846" y="839"/>
                  </a:lnTo>
                  <a:lnTo>
                    <a:pt x="846" y="853"/>
                  </a:lnTo>
                  <a:lnTo>
                    <a:pt x="845" y="868"/>
                  </a:lnTo>
                  <a:lnTo>
                    <a:pt x="825" y="890"/>
                  </a:lnTo>
                  <a:lnTo>
                    <a:pt x="805" y="911"/>
                  </a:lnTo>
                  <a:lnTo>
                    <a:pt x="783" y="930"/>
                  </a:lnTo>
                  <a:lnTo>
                    <a:pt x="763" y="951"/>
                  </a:lnTo>
                  <a:lnTo>
                    <a:pt x="740" y="967"/>
                  </a:lnTo>
                  <a:lnTo>
                    <a:pt x="719" y="982"/>
                  </a:lnTo>
                  <a:lnTo>
                    <a:pt x="696" y="996"/>
                  </a:lnTo>
                  <a:lnTo>
                    <a:pt x="674" y="1010"/>
                  </a:lnTo>
                  <a:lnTo>
                    <a:pt x="658" y="1010"/>
                  </a:lnTo>
                  <a:lnTo>
                    <a:pt x="645" y="1015"/>
                  </a:lnTo>
                  <a:lnTo>
                    <a:pt x="634" y="1023"/>
                  </a:lnTo>
                  <a:lnTo>
                    <a:pt x="623" y="1033"/>
                  </a:lnTo>
                  <a:lnTo>
                    <a:pt x="611" y="1042"/>
                  </a:lnTo>
                  <a:lnTo>
                    <a:pt x="600" y="1051"/>
                  </a:lnTo>
                  <a:lnTo>
                    <a:pt x="587" y="1058"/>
                  </a:lnTo>
                  <a:lnTo>
                    <a:pt x="576" y="1063"/>
                  </a:lnTo>
                  <a:lnTo>
                    <a:pt x="501" y="1091"/>
                  </a:lnTo>
                  <a:lnTo>
                    <a:pt x="425" y="1105"/>
                  </a:lnTo>
                  <a:lnTo>
                    <a:pt x="348" y="1105"/>
                  </a:lnTo>
                  <a:lnTo>
                    <a:pt x="272" y="1094"/>
                  </a:lnTo>
                  <a:lnTo>
                    <a:pt x="196" y="1071"/>
                  </a:lnTo>
                  <a:lnTo>
                    <a:pt x="125" y="1042"/>
                  </a:lnTo>
                  <a:lnTo>
                    <a:pt x="58" y="1004"/>
                  </a:lnTo>
                  <a:lnTo>
                    <a:pt x="0" y="962"/>
                  </a:lnTo>
                  <a:lnTo>
                    <a:pt x="30" y="932"/>
                  </a:lnTo>
                  <a:lnTo>
                    <a:pt x="61" y="901"/>
                  </a:lnTo>
                  <a:lnTo>
                    <a:pt x="89" y="870"/>
                  </a:lnTo>
                  <a:lnTo>
                    <a:pt x="115" y="838"/>
                  </a:lnTo>
                  <a:lnTo>
                    <a:pt x="138" y="803"/>
                  </a:lnTo>
                  <a:lnTo>
                    <a:pt x="158" y="768"/>
                  </a:lnTo>
                  <a:lnTo>
                    <a:pt x="176" y="730"/>
                  </a:lnTo>
                  <a:lnTo>
                    <a:pt x="190" y="694"/>
                  </a:lnTo>
                  <a:lnTo>
                    <a:pt x="200" y="677"/>
                  </a:lnTo>
                  <a:lnTo>
                    <a:pt x="209" y="662"/>
                  </a:lnTo>
                  <a:lnTo>
                    <a:pt x="215" y="644"/>
                  </a:lnTo>
                  <a:lnTo>
                    <a:pt x="223" y="627"/>
                  </a:lnTo>
                  <a:lnTo>
                    <a:pt x="226" y="606"/>
                  </a:lnTo>
                  <a:lnTo>
                    <a:pt x="232" y="587"/>
                  </a:lnTo>
                  <a:lnTo>
                    <a:pt x="237" y="568"/>
                  </a:lnTo>
                  <a:lnTo>
                    <a:pt x="244" y="551"/>
                  </a:lnTo>
                  <a:lnTo>
                    <a:pt x="253" y="517"/>
                  </a:lnTo>
                  <a:lnTo>
                    <a:pt x="259" y="484"/>
                  </a:lnTo>
                  <a:lnTo>
                    <a:pt x="263" y="448"/>
                  </a:lnTo>
                  <a:lnTo>
                    <a:pt x="264" y="414"/>
                  </a:lnTo>
                  <a:lnTo>
                    <a:pt x="263" y="379"/>
                  </a:lnTo>
                  <a:lnTo>
                    <a:pt x="262" y="343"/>
                  </a:lnTo>
                  <a:lnTo>
                    <a:pt x="262" y="309"/>
                  </a:lnTo>
                  <a:lnTo>
                    <a:pt x="263" y="275"/>
                  </a:lnTo>
                  <a:lnTo>
                    <a:pt x="261" y="241"/>
                  </a:lnTo>
                  <a:lnTo>
                    <a:pt x="256" y="209"/>
                  </a:lnTo>
                  <a:lnTo>
                    <a:pt x="248" y="179"/>
                  </a:lnTo>
                  <a:lnTo>
                    <a:pt x="240" y="148"/>
                  </a:lnTo>
                  <a:lnTo>
                    <a:pt x="230" y="118"/>
                  </a:lnTo>
                  <a:lnTo>
                    <a:pt x="224" y="90"/>
                  </a:lnTo>
                  <a:lnTo>
                    <a:pt x="219" y="61"/>
                  </a:lnTo>
                  <a:lnTo>
                    <a:pt x="220" y="34"/>
                  </a:lnTo>
                  <a:lnTo>
                    <a:pt x="264" y="18"/>
                  </a:lnTo>
                  <a:lnTo>
                    <a:pt x="314" y="7"/>
                  </a:lnTo>
                  <a:lnTo>
                    <a:pt x="363" y="0"/>
                  </a:lnTo>
                  <a:lnTo>
                    <a:pt x="415" y="0"/>
                  </a:lnTo>
                  <a:lnTo>
                    <a:pt x="467" y="3"/>
                  </a:lnTo>
                  <a:lnTo>
                    <a:pt x="519" y="9"/>
                  </a:lnTo>
                  <a:lnTo>
                    <a:pt x="568" y="18"/>
                  </a:lnTo>
                  <a:lnTo>
                    <a:pt x="619" y="31"/>
                  </a:lnTo>
                  <a:close/>
                </a:path>
              </a:pathLst>
            </a:custGeom>
            <a:solidFill>
              <a:srgbClr val="FFFFB6"/>
            </a:solidFill>
            <a:ln w="9525">
              <a:noFill/>
              <a:round/>
              <a:headEnd/>
              <a:tailEnd/>
            </a:ln>
          </p:spPr>
          <p:txBody>
            <a:bodyPr/>
            <a:lstStyle/>
            <a:p>
              <a:pPr>
                <a:defRPr/>
              </a:pPr>
              <a:endParaRPr lang="en-US" dirty="0">
                <a:cs typeface="+mn-cs"/>
              </a:endParaRPr>
            </a:p>
          </p:txBody>
        </p:sp>
        <p:sp>
          <p:nvSpPr>
            <p:cNvPr id="101" name="Freeform 1091"/>
            <p:cNvSpPr>
              <a:spLocks/>
            </p:cNvSpPr>
            <p:nvPr/>
          </p:nvSpPr>
          <p:spPr bwMode="auto">
            <a:xfrm>
              <a:off x="2136" y="2583"/>
              <a:ext cx="185" cy="241"/>
            </a:xfrm>
            <a:custGeom>
              <a:avLst/>
              <a:gdLst>
                <a:gd name="T0" fmla="*/ 0 w 740"/>
                <a:gd name="T1" fmla="*/ 0 h 967"/>
                <a:gd name="T2" fmla="*/ 0 w 740"/>
                <a:gd name="T3" fmla="*/ 0 h 967"/>
                <a:gd name="T4" fmla="*/ 0 w 740"/>
                <a:gd name="T5" fmla="*/ 0 h 967"/>
                <a:gd name="T6" fmla="*/ 0 w 740"/>
                <a:gd name="T7" fmla="*/ 0 h 967"/>
                <a:gd name="T8" fmla="*/ 0 w 740"/>
                <a:gd name="T9" fmla="*/ 0 h 967"/>
                <a:gd name="T10" fmla="*/ 0 w 740"/>
                <a:gd name="T11" fmla="*/ 0 h 967"/>
                <a:gd name="T12" fmla="*/ 0 w 740"/>
                <a:gd name="T13" fmla="*/ 0 h 967"/>
                <a:gd name="T14" fmla="*/ 0 w 740"/>
                <a:gd name="T15" fmla="*/ 0 h 967"/>
                <a:gd name="T16" fmla="*/ 0 w 740"/>
                <a:gd name="T17" fmla="*/ 0 h 967"/>
                <a:gd name="T18" fmla="*/ 0 w 740"/>
                <a:gd name="T19" fmla="*/ 0 h 967"/>
                <a:gd name="T20" fmla="*/ 0 w 740"/>
                <a:gd name="T21" fmla="*/ 0 h 967"/>
                <a:gd name="T22" fmla="*/ 0 w 740"/>
                <a:gd name="T23" fmla="*/ 0 h 967"/>
                <a:gd name="T24" fmla="*/ 0 w 740"/>
                <a:gd name="T25" fmla="*/ 0 h 967"/>
                <a:gd name="T26" fmla="*/ 0 w 740"/>
                <a:gd name="T27" fmla="*/ 0 h 967"/>
                <a:gd name="T28" fmla="*/ 0 w 740"/>
                <a:gd name="T29" fmla="*/ 0 h 967"/>
                <a:gd name="T30" fmla="*/ 0 w 740"/>
                <a:gd name="T31" fmla="*/ 0 h 967"/>
                <a:gd name="T32" fmla="*/ 0 w 740"/>
                <a:gd name="T33" fmla="*/ 0 h 967"/>
                <a:gd name="T34" fmla="*/ 0 w 740"/>
                <a:gd name="T35" fmla="*/ 0 h 967"/>
                <a:gd name="T36" fmla="*/ 0 w 740"/>
                <a:gd name="T37" fmla="*/ 0 h 967"/>
                <a:gd name="T38" fmla="*/ 0 w 740"/>
                <a:gd name="T39" fmla="*/ 0 h 967"/>
                <a:gd name="T40" fmla="*/ 0 w 740"/>
                <a:gd name="T41" fmla="*/ 0 h 967"/>
                <a:gd name="T42" fmla="*/ 0 w 740"/>
                <a:gd name="T43" fmla="*/ 0 h 967"/>
                <a:gd name="T44" fmla="*/ 0 w 740"/>
                <a:gd name="T45" fmla="*/ 0 h 967"/>
                <a:gd name="T46" fmla="*/ 0 w 740"/>
                <a:gd name="T47" fmla="*/ 0 h 967"/>
                <a:gd name="T48" fmla="*/ 0 w 740"/>
                <a:gd name="T49" fmla="*/ 0 h 967"/>
                <a:gd name="T50" fmla="*/ 0 w 740"/>
                <a:gd name="T51" fmla="*/ 0 h 967"/>
                <a:gd name="T52" fmla="*/ 0 w 740"/>
                <a:gd name="T53" fmla="*/ 0 h 967"/>
                <a:gd name="T54" fmla="*/ 0 w 740"/>
                <a:gd name="T55" fmla="*/ 0 h 967"/>
                <a:gd name="T56" fmla="*/ 0 w 740"/>
                <a:gd name="T57" fmla="*/ 0 h 967"/>
                <a:gd name="T58" fmla="*/ 0 w 740"/>
                <a:gd name="T59" fmla="*/ 0 h 967"/>
                <a:gd name="T60" fmla="*/ 0 w 740"/>
                <a:gd name="T61" fmla="*/ 0 h 967"/>
                <a:gd name="T62" fmla="*/ 0 w 740"/>
                <a:gd name="T63" fmla="*/ 0 h 967"/>
                <a:gd name="T64" fmla="*/ 0 w 740"/>
                <a:gd name="T65" fmla="*/ 0 h 967"/>
                <a:gd name="T66" fmla="*/ 0 w 740"/>
                <a:gd name="T67" fmla="*/ 0 h 967"/>
                <a:gd name="T68" fmla="*/ 0 w 740"/>
                <a:gd name="T69" fmla="*/ 0 h 967"/>
                <a:gd name="T70" fmla="*/ 0 w 740"/>
                <a:gd name="T71" fmla="*/ 0 h 967"/>
                <a:gd name="T72" fmla="*/ 0 w 740"/>
                <a:gd name="T73" fmla="*/ 0 h 967"/>
                <a:gd name="T74" fmla="*/ 0 w 740"/>
                <a:gd name="T75" fmla="*/ 0 h 967"/>
                <a:gd name="T76" fmla="*/ 0 w 740"/>
                <a:gd name="T77" fmla="*/ 0 h 967"/>
                <a:gd name="T78" fmla="*/ 0 w 740"/>
                <a:gd name="T79" fmla="*/ 0 h 967"/>
                <a:gd name="T80" fmla="*/ 0 w 740"/>
                <a:gd name="T81" fmla="*/ 0 h 967"/>
                <a:gd name="T82" fmla="*/ 0 w 740"/>
                <a:gd name="T83" fmla="*/ 0 h 967"/>
                <a:gd name="T84" fmla="*/ 0 w 740"/>
                <a:gd name="T85" fmla="*/ 0 h 967"/>
                <a:gd name="T86" fmla="*/ 0 w 740"/>
                <a:gd name="T87" fmla="*/ 0 h 967"/>
                <a:gd name="T88" fmla="*/ 0 w 740"/>
                <a:gd name="T89" fmla="*/ 0 h 967"/>
                <a:gd name="T90" fmla="*/ 0 w 740"/>
                <a:gd name="T91" fmla="*/ 0 h 967"/>
                <a:gd name="T92" fmla="*/ 0 w 740"/>
                <a:gd name="T93" fmla="*/ 0 h 967"/>
                <a:gd name="T94" fmla="*/ 0 w 740"/>
                <a:gd name="T95" fmla="*/ 0 h 967"/>
                <a:gd name="T96" fmla="*/ 0 w 740"/>
                <a:gd name="T97" fmla="*/ 0 h 967"/>
                <a:gd name="T98" fmla="*/ 0 w 740"/>
                <a:gd name="T99" fmla="*/ 0 h 967"/>
                <a:gd name="T100" fmla="*/ 0 w 740"/>
                <a:gd name="T101" fmla="*/ 0 h 967"/>
                <a:gd name="T102" fmla="*/ 0 w 740"/>
                <a:gd name="T103" fmla="*/ 0 h 967"/>
                <a:gd name="T104" fmla="*/ 0 w 740"/>
                <a:gd name="T105" fmla="*/ 0 h 96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40"/>
                <a:gd name="T160" fmla="*/ 0 h 967"/>
                <a:gd name="T161" fmla="*/ 740 w 740"/>
                <a:gd name="T162" fmla="*/ 967 h 96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40" h="967">
                  <a:moveTo>
                    <a:pt x="542" y="25"/>
                  </a:moveTo>
                  <a:lnTo>
                    <a:pt x="548" y="42"/>
                  </a:lnTo>
                  <a:lnTo>
                    <a:pt x="556" y="61"/>
                  </a:lnTo>
                  <a:lnTo>
                    <a:pt x="566" y="78"/>
                  </a:lnTo>
                  <a:lnTo>
                    <a:pt x="578" y="96"/>
                  </a:lnTo>
                  <a:lnTo>
                    <a:pt x="591" y="111"/>
                  </a:lnTo>
                  <a:lnTo>
                    <a:pt x="605" y="128"/>
                  </a:lnTo>
                  <a:lnTo>
                    <a:pt x="620" y="143"/>
                  </a:lnTo>
                  <a:lnTo>
                    <a:pt x="635" y="157"/>
                  </a:lnTo>
                  <a:lnTo>
                    <a:pt x="650" y="180"/>
                  </a:lnTo>
                  <a:lnTo>
                    <a:pt x="666" y="206"/>
                  </a:lnTo>
                  <a:lnTo>
                    <a:pt x="680" y="231"/>
                  </a:lnTo>
                  <a:lnTo>
                    <a:pt x="692" y="259"/>
                  </a:lnTo>
                  <a:lnTo>
                    <a:pt x="700" y="286"/>
                  </a:lnTo>
                  <a:lnTo>
                    <a:pt x="705" y="315"/>
                  </a:lnTo>
                  <a:lnTo>
                    <a:pt x="704" y="344"/>
                  </a:lnTo>
                  <a:lnTo>
                    <a:pt x="700" y="374"/>
                  </a:lnTo>
                  <a:lnTo>
                    <a:pt x="721" y="388"/>
                  </a:lnTo>
                  <a:lnTo>
                    <a:pt x="710" y="386"/>
                  </a:lnTo>
                  <a:lnTo>
                    <a:pt x="702" y="388"/>
                  </a:lnTo>
                  <a:lnTo>
                    <a:pt x="697" y="393"/>
                  </a:lnTo>
                  <a:lnTo>
                    <a:pt x="696" y="401"/>
                  </a:lnTo>
                  <a:lnTo>
                    <a:pt x="695" y="409"/>
                  </a:lnTo>
                  <a:lnTo>
                    <a:pt x="694" y="417"/>
                  </a:lnTo>
                  <a:lnTo>
                    <a:pt x="691" y="424"/>
                  </a:lnTo>
                  <a:lnTo>
                    <a:pt x="687" y="431"/>
                  </a:lnTo>
                  <a:lnTo>
                    <a:pt x="682" y="463"/>
                  </a:lnTo>
                  <a:lnTo>
                    <a:pt x="683" y="495"/>
                  </a:lnTo>
                  <a:lnTo>
                    <a:pt x="688" y="524"/>
                  </a:lnTo>
                  <a:lnTo>
                    <a:pt x="696" y="553"/>
                  </a:lnTo>
                  <a:lnTo>
                    <a:pt x="704" y="581"/>
                  </a:lnTo>
                  <a:lnTo>
                    <a:pt x="711" y="610"/>
                  </a:lnTo>
                  <a:lnTo>
                    <a:pt x="718" y="639"/>
                  </a:lnTo>
                  <a:lnTo>
                    <a:pt x="721" y="671"/>
                  </a:lnTo>
                  <a:lnTo>
                    <a:pt x="725" y="681"/>
                  </a:lnTo>
                  <a:lnTo>
                    <a:pt x="730" y="692"/>
                  </a:lnTo>
                  <a:lnTo>
                    <a:pt x="734" y="702"/>
                  </a:lnTo>
                  <a:lnTo>
                    <a:pt x="738" y="714"/>
                  </a:lnTo>
                  <a:lnTo>
                    <a:pt x="739" y="724"/>
                  </a:lnTo>
                  <a:lnTo>
                    <a:pt x="740" y="734"/>
                  </a:lnTo>
                  <a:lnTo>
                    <a:pt x="739" y="745"/>
                  </a:lnTo>
                  <a:lnTo>
                    <a:pt x="739" y="759"/>
                  </a:lnTo>
                  <a:lnTo>
                    <a:pt x="721" y="777"/>
                  </a:lnTo>
                  <a:lnTo>
                    <a:pt x="704" y="796"/>
                  </a:lnTo>
                  <a:lnTo>
                    <a:pt x="686" y="814"/>
                  </a:lnTo>
                  <a:lnTo>
                    <a:pt x="668" y="830"/>
                  </a:lnTo>
                  <a:lnTo>
                    <a:pt x="648" y="844"/>
                  </a:lnTo>
                  <a:lnTo>
                    <a:pt x="629" y="859"/>
                  </a:lnTo>
                  <a:lnTo>
                    <a:pt x="609" y="870"/>
                  </a:lnTo>
                  <a:lnTo>
                    <a:pt x="590" y="883"/>
                  </a:lnTo>
                  <a:lnTo>
                    <a:pt x="576" y="883"/>
                  </a:lnTo>
                  <a:lnTo>
                    <a:pt x="566" y="888"/>
                  </a:lnTo>
                  <a:lnTo>
                    <a:pt x="554" y="895"/>
                  </a:lnTo>
                  <a:lnTo>
                    <a:pt x="545" y="903"/>
                  </a:lnTo>
                  <a:lnTo>
                    <a:pt x="535" y="911"/>
                  </a:lnTo>
                  <a:lnTo>
                    <a:pt x="525" y="920"/>
                  </a:lnTo>
                  <a:lnTo>
                    <a:pt x="514" y="926"/>
                  </a:lnTo>
                  <a:lnTo>
                    <a:pt x="504" y="930"/>
                  </a:lnTo>
                  <a:lnTo>
                    <a:pt x="438" y="953"/>
                  </a:lnTo>
                  <a:lnTo>
                    <a:pt x="372" y="965"/>
                  </a:lnTo>
                  <a:lnTo>
                    <a:pt x="304" y="967"/>
                  </a:lnTo>
                  <a:lnTo>
                    <a:pt x="238" y="957"/>
                  </a:lnTo>
                  <a:lnTo>
                    <a:pt x="172" y="938"/>
                  </a:lnTo>
                  <a:lnTo>
                    <a:pt x="110" y="911"/>
                  </a:lnTo>
                  <a:lnTo>
                    <a:pt x="52" y="877"/>
                  </a:lnTo>
                  <a:lnTo>
                    <a:pt x="0" y="840"/>
                  </a:lnTo>
                  <a:lnTo>
                    <a:pt x="27" y="814"/>
                  </a:lnTo>
                  <a:lnTo>
                    <a:pt x="53" y="788"/>
                  </a:lnTo>
                  <a:lnTo>
                    <a:pt x="77" y="760"/>
                  </a:lnTo>
                  <a:lnTo>
                    <a:pt x="100" y="733"/>
                  </a:lnTo>
                  <a:lnTo>
                    <a:pt x="119" y="701"/>
                  </a:lnTo>
                  <a:lnTo>
                    <a:pt x="138" y="671"/>
                  </a:lnTo>
                  <a:lnTo>
                    <a:pt x="153" y="639"/>
                  </a:lnTo>
                  <a:lnTo>
                    <a:pt x="166" y="606"/>
                  </a:lnTo>
                  <a:lnTo>
                    <a:pt x="173" y="592"/>
                  </a:lnTo>
                  <a:lnTo>
                    <a:pt x="182" y="578"/>
                  </a:lnTo>
                  <a:lnTo>
                    <a:pt x="187" y="562"/>
                  </a:lnTo>
                  <a:lnTo>
                    <a:pt x="194" y="547"/>
                  </a:lnTo>
                  <a:lnTo>
                    <a:pt x="198" y="529"/>
                  </a:lnTo>
                  <a:lnTo>
                    <a:pt x="203" y="514"/>
                  </a:lnTo>
                  <a:lnTo>
                    <a:pt x="206" y="496"/>
                  </a:lnTo>
                  <a:lnTo>
                    <a:pt x="214" y="481"/>
                  </a:lnTo>
                  <a:lnTo>
                    <a:pt x="222" y="450"/>
                  </a:lnTo>
                  <a:lnTo>
                    <a:pt x="227" y="421"/>
                  </a:lnTo>
                  <a:lnTo>
                    <a:pt x="229" y="391"/>
                  </a:lnTo>
                  <a:lnTo>
                    <a:pt x="230" y="362"/>
                  </a:lnTo>
                  <a:lnTo>
                    <a:pt x="229" y="330"/>
                  </a:lnTo>
                  <a:lnTo>
                    <a:pt x="229" y="298"/>
                  </a:lnTo>
                  <a:lnTo>
                    <a:pt x="229" y="268"/>
                  </a:lnTo>
                  <a:lnTo>
                    <a:pt x="230" y="239"/>
                  </a:lnTo>
                  <a:lnTo>
                    <a:pt x="228" y="210"/>
                  </a:lnTo>
                  <a:lnTo>
                    <a:pt x="224" y="182"/>
                  </a:lnTo>
                  <a:lnTo>
                    <a:pt x="217" y="156"/>
                  </a:lnTo>
                  <a:lnTo>
                    <a:pt x="210" y="130"/>
                  </a:lnTo>
                  <a:lnTo>
                    <a:pt x="203" y="104"/>
                  </a:lnTo>
                  <a:lnTo>
                    <a:pt x="196" y="78"/>
                  </a:lnTo>
                  <a:lnTo>
                    <a:pt x="192" y="53"/>
                  </a:lnTo>
                  <a:lnTo>
                    <a:pt x="192" y="29"/>
                  </a:lnTo>
                  <a:lnTo>
                    <a:pt x="232" y="14"/>
                  </a:lnTo>
                  <a:lnTo>
                    <a:pt x="273" y="6"/>
                  </a:lnTo>
                  <a:lnTo>
                    <a:pt x="318" y="1"/>
                  </a:lnTo>
                  <a:lnTo>
                    <a:pt x="363" y="0"/>
                  </a:lnTo>
                  <a:lnTo>
                    <a:pt x="408" y="1"/>
                  </a:lnTo>
                  <a:lnTo>
                    <a:pt x="453" y="6"/>
                  </a:lnTo>
                  <a:lnTo>
                    <a:pt x="497" y="14"/>
                  </a:lnTo>
                  <a:lnTo>
                    <a:pt x="542" y="25"/>
                  </a:lnTo>
                  <a:close/>
                </a:path>
              </a:pathLst>
            </a:custGeom>
            <a:solidFill>
              <a:srgbClr val="FFFFBF"/>
            </a:solidFill>
            <a:ln w="9525">
              <a:noFill/>
              <a:round/>
              <a:headEnd/>
              <a:tailEnd/>
            </a:ln>
          </p:spPr>
          <p:txBody>
            <a:bodyPr/>
            <a:lstStyle/>
            <a:p>
              <a:pPr>
                <a:defRPr/>
              </a:pPr>
              <a:endParaRPr lang="en-US" dirty="0">
                <a:cs typeface="+mn-cs"/>
              </a:endParaRPr>
            </a:p>
          </p:txBody>
        </p:sp>
        <p:sp>
          <p:nvSpPr>
            <p:cNvPr id="102" name="Freeform 1092"/>
            <p:cNvSpPr>
              <a:spLocks/>
            </p:cNvSpPr>
            <p:nvPr/>
          </p:nvSpPr>
          <p:spPr bwMode="auto">
            <a:xfrm>
              <a:off x="2355" y="2498"/>
              <a:ext cx="124" cy="308"/>
            </a:xfrm>
            <a:custGeom>
              <a:avLst/>
              <a:gdLst>
                <a:gd name="T0" fmla="*/ 0 w 495"/>
                <a:gd name="T1" fmla="*/ 0 h 1231"/>
                <a:gd name="T2" fmla="*/ 0 w 495"/>
                <a:gd name="T3" fmla="*/ 0 h 1231"/>
                <a:gd name="T4" fmla="*/ 0 w 495"/>
                <a:gd name="T5" fmla="*/ 0 h 1231"/>
                <a:gd name="T6" fmla="*/ 0 w 495"/>
                <a:gd name="T7" fmla="*/ 0 h 1231"/>
                <a:gd name="T8" fmla="*/ 0 w 495"/>
                <a:gd name="T9" fmla="*/ 0 h 1231"/>
                <a:gd name="T10" fmla="*/ 0 w 495"/>
                <a:gd name="T11" fmla="*/ 0 h 1231"/>
                <a:gd name="T12" fmla="*/ 0 w 495"/>
                <a:gd name="T13" fmla="*/ 0 h 1231"/>
                <a:gd name="T14" fmla="*/ 0 w 495"/>
                <a:gd name="T15" fmla="*/ 0 h 1231"/>
                <a:gd name="T16" fmla="*/ 0 w 495"/>
                <a:gd name="T17" fmla="*/ 0 h 1231"/>
                <a:gd name="T18" fmla="*/ 0 w 495"/>
                <a:gd name="T19" fmla="*/ 0 h 1231"/>
                <a:gd name="T20" fmla="*/ 0 w 495"/>
                <a:gd name="T21" fmla="*/ 0 h 1231"/>
                <a:gd name="T22" fmla="*/ 0 w 495"/>
                <a:gd name="T23" fmla="*/ 0 h 1231"/>
                <a:gd name="T24" fmla="*/ 0 w 495"/>
                <a:gd name="T25" fmla="*/ 0 h 1231"/>
                <a:gd name="T26" fmla="*/ 0 w 495"/>
                <a:gd name="T27" fmla="*/ 0 h 1231"/>
                <a:gd name="T28" fmla="*/ 0 w 495"/>
                <a:gd name="T29" fmla="*/ 0 h 1231"/>
                <a:gd name="T30" fmla="*/ 0 w 495"/>
                <a:gd name="T31" fmla="*/ 0 h 1231"/>
                <a:gd name="T32" fmla="*/ 0 w 495"/>
                <a:gd name="T33" fmla="*/ 0 h 1231"/>
                <a:gd name="T34" fmla="*/ 0 w 495"/>
                <a:gd name="T35" fmla="*/ 0 h 1231"/>
                <a:gd name="T36" fmla="*/ 0 w 495"/>
                <a:gd name="T37" fmla="*/ 0 h 1231"/>
                <a:gd name="T38" fmla="*/ 0 w 495"/>
                <a:gd name="T39" fmla="*/ 0 h 1231"/>
                <a:gd name="T40" fmla="*/ 0 w 495"/>
                <a:gd name="T41" fmla="*/ 0 h 1231"/>
                <a:gd name="T42" fmla="*/ 0 w 495"/>
                <a:gd name="T43" fmla="*/ 0 h 1231"/>
                <a:gd name="T44" fmla="*/ 0 w 495"/>
                <a:gd name="T45" fmla="*/ 0 h 1231"/>
                <a:gd name="T46" fmla="*/ 0 w 495"/>
                <a:gd name="T47" fmla="*/ 0 h 1231"/>
                <a:gd name="T48" fmla="*/ 0 w 495"/>
                <a:gd name="T49" fmla="*/ 0 h 1231"/>
                <a:gd name="T50" fmla="*/ 0 w 495"/>
                <a:gd name="T51" fmla="*/ 0 h 1231"/>
                <a:gd name="T52" fmla="*/ 0 w 495"/>
                <a:gd name="T53" fmla="*/ 0 h 1231"/>
                <a:gd name="T54" fmla="*/ 0 w 495"/>
                <a:gd name="T55" fmla="*/ 0 h 1231"/>
                <a:gd name="T56" fmla="*/ 0 w 495"/>
                <a:gd name="T57" fmla="*/ 0 h 1231"/>
                <a:gd name="T58" fmla="*/ 0 w 495"/>
                <a:gd name="T59" fmla="*/ 0 h 1231"/>
                <a:gd name="T60" fmla="*/ 0 w 495"/>
                <a:gd name="T61" fmla="*/ 0 h 1231"/>
                <a:gd name="T62" fmla="*/ 0 w 495"/>
                <a:gd name="T63" fmla="*/ 0 h 123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95"/>
                <a:gd name="T97" fmla="*/ 0 h 1231"/>
                <a:gd name="T98" fmla="*/ 495 w 495"/>
                <a:gd name="T99" fmla="*/ 1231 h 123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95" h="1231">
                  <a:moveTo>
                    <a:pt x="426" y="591"/>
                  </a:moveTo>
                  <a:lnTo>
                    <a:pt x="431" y="597"/>
                  </a:lnTo>
                  <a:lnTo>
                    <a:pt x="439" y="603"/>
                  </a:lnTo>
                  <a:lnTo>
                    <a:pt x="447" y="607"/>
                  </a:lnTo>
                  <a:lnTo>
                    <a:pt x="457" y="611"/>
                  </a:lnTo>
                  <a:lnTo>
                    <a:pt x="464" y="612"/>
                  </a:lnTo>
                  <a:lnTo>
                    <a:pt x="474" y="613"/>
                  </a:lnTo>
                  <a:lnTo>
                    <a:pt x="485" y="613"/>
                  </a:lnTo>
                  <a:lnTo>
                    <a:pt x="495" y="615"/>
                  </a:lnTo>
                  <a:lnTo>
                    <a:pt x="463" y="612"/>
                  </a:lnTo>
                  <a:lnTo>
                    <a:pt x="448" y="622"/>
                  </a:lnTo>
                  <a:lnTo>
                    <a:pt x="442" y="639"/>
                  </a:lnTo>
                  <a:lnTo>
                    <a:pt x="444" y="660"/>
                  </a:lnTo>
                  <a:lnTo>
                    <a:pt x="449" y="684"/>
                  </a:lnTo>
                  <a:lnTo>
                    <a:pt x="455" y="708"/>
                  </a:lnTo>
                  <a:lnTo>
                    <a:pt x="457" y="731"/>
                  </a:lnTo>
                  <a:lnTo>
                    <a:pt x="452" y="750"/>
                  </a:lnTo>
                  <a:lnTo>
                    <a:pt x="462" y="796"/>
                  </a:lnTo>
                  <a:lnTo>
                    <a:pt x="458" y="836"/>
                  </a:lnTo>
                  <a:lnTo>
                    <a:pt x="445" y="870"/>
                  </a:lnTo>
                  <a:lnTo>
                    <a:pt x="430" y="905"/>
                  </a:lnTo>
                  <a:lnTo>
                    <a:pt x="412" y="936"/>
                  </a:lnTo>
                  <a:lnTo>
                    <a:pt x="401" y="969"/>
                  </a:lnTo>
                  <a:lnTo>
                    <a:pt x="397" y="1006"/>
                  </a:lnTo>
                  <a:lnTo>
                    <a:pt x="409" y="1049"/>
                  </a:lnTo>
                  <a:lnTo>
                    <a:pt x="396" y="1072"/>
                  </a:lnTo>
                  <a:lnTo>
                    <a:pt x="388" y="1097"/>
                  </a:lnTo>
                  <a:lnTo>
                    <a:pt x="380" y="1122"/>
                  </a:lnTo>
                  <a:lnTo>
                    <a:pt x="372" y="1149"/>
                  </a:lnTo>
                  <a:lnTo>
                    <a:pt x="361" y="1173"/>
                  </a:lnTo>
                  <a:lnTo>
                    <a:pt x="349" y="1196"/>
                  </a:lnTo>
                  <a:lnTo>
                    <a:pt x="334" y="1215"/>
                  </a:lnTo>
                  <a:lnTo>
                    <a:pt x="316" y="1231"/>
                  </a:lnTo>
                  <a:lnTo>
                    <a:pt x="307" y="1190"/>
                  </a:lnTo>
                  <a:lnTo>
                    <a:pt x="297" y="1150"/>
                  </a:lnTo>
                  <a:lnTo>
                    <a:pt x="285" y="1108"/>
                  </a:lnTo>
                  <a:lnTo>
                    <a:pt x="272" y="1068"/>
                  </a:lnTo>
                  <a:lnTo>
                    <a:pt x="258" y="1026"/>
                  </a:lnTo>
                  <a:lnTo>
                    <a:pt x="244" y="985"/>
                  </a:lnTo>
                  <a:lnTo>
                    <a:pt x="230" y="944"/>
                  </a:lnTo>
                  <a:lnTo>
                    <a:pt x="220" y="903"/>
                  </a:lnTo>
                  <a:lnTo>
                    <a:pt x="205" y="821"/>
                  </a:lnTo>
                  <a:lnTo>
                    <a:pt x="206" y="740"/>
                  </a:lnTo>
                  <a:lnTo>
                    <a:pt x="215" y="658"/>
                  </a:lnTo>
                  <a:lnTo>
                    <a:pt x="228" y="575"/>
                  </a:lnTo>
                  <a:lnTo>
                    <a:pt x="235" y="493"/>
                  </a:lnTo>
                  <a:lnTo>
                    <a:pt x="235" y="412"/>
                  </a:lnTo>
                  <a:lnTo>
                    <a:pt x="218" y="333"/>
                  </a:lnTo>
                  <a:lnTo>
                    <a:pt x="178" y="255"/>
                  </a:lnTo>
                  <a:lnTo>
                    <a:pt x="152" y="222"/>
                  </a:lnTo>
                  <a:lnTo>
                    <a:pt x="126" y="191"/>
                  </a:lnTo>
                  <a:lnTo>
                    <a:pt x="102" y="160"/>
                  </a:lnTo>
                  <a:lnTo>
                    <a:pt x="80" y="131"/>
                  </a:lnTo>
                  <a:lnTo>
                    <a:pt x="57" y="100"/>
                  </a:lnTo>
                  <a:lnTo>
                    <a:pt x="37" y="68"/>
                  </a:lnTo>
                  <a:lnTo>
                    <a:pt x="16" y="34"/>
                  </a:lnTo>
                  <a:lnTo>
                    <a:pt x="0" y="0"/>
                  </a:lnTo>
                  <a:lnTo>
                    <a:pt x="75" y="55"/>
                  </a:lnTo>
                  <a:lnTo>
                    <a:pt x="148" y="116"/>
                  </a:lnTo>
                  <a:lnTo>
                    <a:pt x="216" y="183"/>
                  </a:lnTo>
                  <a:lnTo>
                    <a:pt x="280" y="255"/>
                  </a:lnTo>
                  <a:lnTo>
                    <a:pt x="333" y="331"/>
                  </a:lnTo>
                  <a:lnTo>
                    <a:pt x="377" y="414"/>
                  </a:lnTo>
                  <a:lnTo>
                    <a:pt x="409" y="500"/>
                  </a:lnTo>
                  <a:lnTo>
                    <a:pt x="426" y="591"/>
                  </a:lnTo>
                  <a:close/>
                </a:path>
              </a:pathLst>
            </a:custGeom>
            <a:solidFill>
              <a:srgbClr val="FF80BF"/>
            </a:solidFill>
            <a:ln w="9525">
              <a:noFill/>
              <a:round/>
              <a:headEnd/>
              <a:tailEnd/>
            </a:ln>
          </p:spPr>
          <p:txBody>
            <a:bodyPr/>
            <a:lstStyle/>
            <a:p>
              <a:pPr>
                <a:defRPr/>
              </a:pPr>
              <a:endParaRPr lang="en-US" dirty="0">
                <a:cs typeface="+mn-cs"/>
              </a:endParaRPr>
            </a:p>
          </p:txBody>
        </p:sp>
      </p:grpSp>
      <p:sp>
        <p:nvSpPr>
          <p:cNvPr id="13324" name="TextBox 2"/>
          <p:cNvSpPr txBox="1">
            <a:spLocks noChangeArrowheads="1"/>
          </p:cNvSpPr>
          <p:nvPr/>
        </p:nvSpPr>
        <p:spPr bwMode="auto">
          <a:xfrm>
            <a:off x="539750" y="1412875"/>
            <a:ext cx="823913" cy="366713"/>
          </a:xfrm>
          <a:prstGeom prst="rect">
            <a:avLst/>
          </a:prstGeom>
          <a:noFill/>
          <a:ln w="9525">
            <a:noFill/>
            <a:miter lim="800000"/>
            <a:headEnd/>
            <a:tailEnd/>
          </a:ln>
        </p:spPr>
        <p:txBody>
          <a:bodyPr wrap="none">
            <a:spAutoFit/>
          </a:bodyPr>
          <a:lstStyle/>
          <a:p>
            <a:pPr eaLnBrk="0" hangingPunct="0">
              <a:buSzPct val="100000"/>
            </a:pPr>
            <a:r>
              <a:rPr lang="da-DK">
                <a:sym typeface="Verdana" pitchFamily="34" charset="0"/>
              </a:rPr>
              <a:t>Foie</a:t>
            </a:r>
          </a:p>
        </p:txBody>
      </p:sp>
      <p:sp>
        <p:nvSpPr>
          <p:cNvPr id="13325" name="TextBox 4"/>
          <p:cNvSpPr txBox="1">
            <a:spLocks noChangeArrowheads="1"/>
          </p:cNvSpPr>
          <p:nvPr/>
        </p:nvSpPr>
        <p:spPr bwMode="auto">
          <a:xfrm>
            <a:off x="323850" y="2349500"/>
            <a:ext cx="1063625" cy="366713"/>
          </a:xfrm>
          <a:prstGeom prst="rect">
            <a:avLst/>
          </a:prstGeom>
          <a:noFill/>
          <a:ln w="9525">
            <a:noFill/>
            <a:miter lim="800000"/>
            <a:headEnd/>
            <a:tailEnd/>
          </a:ln>
        </p:spPr>
        <p:txBody>
          <a:bodyPr wrap="none">
            <a:spAutoFit/>
          </a:bodyPr>
          <a:lstStyle/>
          <a:p>
            <a:pPr eaLnBrk="0" hangingPunct="0">
              <a:buSzPct val="100000"/>
            </a:pPr>
            <a:r>
              <a:rPr lang="da-DK">
                <a:sym typeface="Verdana" pitchFamily="34" charset="0"/>
              </a:rPr>
              <a:t>Muscle</a:t>
            </a:r>
          </a:p>
        </p:txBody>
      </p:sp>
      <p:sp>
        <p:nvSpPr>
          <p:cNvPr id="13326" name="TextBox 5"/>
          <p:cNvSpPr txBox="1">
            <a:spLocks noChangeArrowheads="1"/>
          </p:cNvSpPr>
          <p:nvPr/>
        </p:nvSpPr>
        <p:spPr bwMode="auto">
          <a:xfrm>
            <a:off x="395288" y="3284538"/>
            <a:ext cx="590550" cy="366712"/>
          </a:xfrm>
          <a:prstGeom prst="rect">
            <a:avLst/>
          </a:prstGeom>
          <a:noFill/>
          <a:ln w="9525">
            <a:noFill/>
            <a:miter lim="800000"/>
            <a:headEnd/>
            <a:tailEnd/>
          </a:ln>
        </p:spPr>
        <p:txBody>
          <a:bodyPr wrap="none">
            <a:spAutoFit/>
          </a:bodyPr>
          <a:lstStyle/>
          <a:p>
            <a:pPr eaLnBrk="0" hangingPunct="0">
              <a:buSzPct val="100000"/>
            </a:pPr>
            <a:r>
              <a:rPr lang="da-DK">
                <a:sym typeface="Verdana" pitchFamily="34" charset="0"/>
              </a:rPr>
              <a:t>Graisse</a:t>
            </a:r>
          </a:p>
        </p:txBody>
      </p:sp>
      <p:sp>
        <p:nvSpPr>
          <p:cNvPr id="13327" name="TextBox 6"/>
          <p:cNvSpPr txBox="1">
            <a:spLocks noChangeArrowheads="1"/>
          </p:cNvSpPr>
          <p:nvPr/>
        </p:nvSpPr>
        <p:spPr bwMode="auto">
          <a:xfrm>
            <a:off x="323850" y="5157788"/>
            <a:ext cx="1682750" cy="366712"/>
          </a:xfrm>
          <a:prstGeom prst="rect">
            <a:avLst/>
          </a:prstGeom>
          <a:noFill/>
          <a:ln w="9525">
            <a:noFill/>
            <a:miter lim="800000"/>
            <a:headEnd/>
            <a:tailEnd/>
          </a:ln>
        </p:spPr>
        <p:txBody>
          <a:bodyPr wrap="none">
            <a:spAutoFit/>
          </a:bodyPr>
          <a:lstStyle/>
          <a:p>
            <a:pPr eaLnBrk="0" hangingPunct="0">
              <a:buSzPct val="100000"/>
            </a:pPr>
            <a:r>
              <a:rPr lang="da-DK">
                <a:sym typeface="Verdana" pitchFamily="34" charset="0"/>
              </a:rPr>
              <a:t>Perte de poids</a:t>
            </a:r>
          </a:p>
        </p:txBody>
      </p:sp>
      <p:sp>
        <p:nvSpPr>
          <p:cNvPr id="13328" name="Down Arrow 7"/>
          <p:cNvSpPr>
            <a:spLocks noChangeArrowheads="1"/>
          </p:cNvSpPr>
          <p:nvPr/>
        </p:nvSpPr>
        <p:spPr bwMode="auto">
          <a:xfrm>
            <a:off x="971550" y="4581525"/>
            <a:ext cx="266700" cy="400050"/>
          </a:xfrm>
          <a:prstGeom prst="downArrow">
            <a:avLst>
              <a:gd name="adj1" fmla="val 50000"/>
              <a:gd name="adj2" fmla="val 50306"/>
            </a:avLst>
          </a:prstGeom>
          <a:solidFill>
            <a:schemeClr val="accent1"/>
          </a:solidFill>
          <a:ln w="3175" algn="ctr">
            <a:solidFill>
              <a:schemeClr val="accent1"/>
            </a:solidFill>
            <a:round/>
            <a:headEnd/>
            <a:tailEnd/>
          </a:ln>
        </p:spPr>
        <p:txBody>
          <a:bodyPr wrap="none" lIns="72000" tIns="72000" rIns="72000" bIns="72000" anchor="ctr"/>
          <a:lstStyle/>
          <a:p>
            <a:pPr algn="ctr">
              <a:spcBef>
                <a:spcPct val="50000"/>
              </a:spcBef>
            </a:pPr>
            <a:endParaRPr lang="en-ZA"/>
          </a:p>
        </p:txBody>
      </p:sp>
      <p:sp>
        <p:nvSpPr>
          <p:cNvPr id="13329" name="TextBox 8"/>
          <p:cNvSpPr txBox="1">
            <a:spLocks noChangeArrowheads="1"/>
          </p:cNvSpPr>
          <p:nvPr/>
        </p:nvSpPr>
        <p:spPr bwMode="auto">
          <a:xfrm>
            <a:off x="2446338" y="4981575"/>
            <a:ext cx="1235075" cy="369888"/>
          </a:xfrm>
          <a:prstGeom prst="rect">
            <a:avLst/>
          </a:prstGeom>
          <a:noFill/>
          <a:ln w="9525">
            <a:noFill/>
            <a:miter lim="800000"/>
            <a:headEnd/>
            <a:tailEnd/>
          </a:ln>
        </p:spPr>
        <p:txBody>
          <a:bodyPr wrap="none">
            <a:spAutoFit/>
          </a:bodyPr>
          <a:lstStyle/>
          <a:p>
            <a:pPr eaLnBrk="0" hangingPunct="0">
              <a:buSzPct val="100000"/>
            </a:pPr>
            <a:r>
              <a:rPr lang="da-DK">
                <a:sym typeface="Verdana" pitchFamily="34" charset="0"/>
              </a:rPr>
              <a:t>Corps cétoniques</a:t>
            </a:r>
          </a:p>
        </p:txBody>
      </p:sp>
      <p:cxnSp>
        <p:nvCxnSpPr>
          <p:cNvPr id="13330" name="Curved Connector 10"/>
          <p:cNvCxnSpPr>
            <a:cxnSpLocks noChangeShapeType="1"/>
            <a:endCxn id="13329" idx="1"/>
          </p:cNvCxnSpPr>
          <p:nvPr/>
        </p:nvCxnSpPr>
        <p:spPr bwMode="auto">
          <a:xfrm>
            <a:off x="1431925" y="4552950"/>
            <a:ext cx="1014413" cy="614363"/>
          </a:xfrm>
          <a:prstGeom prst="curvedConnector3">
            <a:avLst>
              <a:gd name="adj1" fmla="val 24968"/>
            </a:avLst>
          </a:prstGeom>
          <a:noFill/>
          <a:ln w="12700" algn="ctr">
            <a:solidFill>
              <a:schemeClr val="accent1"/>
            </a:solidFill>
            <a:round/>
            <a:headEnd type="none" w="lg" len="med"/>
            <a:tailEnd type="arrow" w="lg" len="med"/>
          </a:ln>
        </p:spPr>
      </p:cxnSp>
      <p:pic>
        <p:nvPicPr>
          <p:cNvPr id="13331" name="Picture 3" descr="cdic.jpg"/>
          <p:cNvPicPr>
            <a:picLocks noChangeAspect="1"/>
          </p:cNvPicPr>
          <p:nvPr/>
        </p:nvPicPr>
        <p:blipFill>
          <a:blip r:embed="rId5"/>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7"/>
          <p:cNvSpPr>
            <a:spLocks noGrp="1"/>
          </p:cNvSpPr>
          <p:nvPr>
            <p:ph type="title" idx="4294967295"/>
          </p:nvPr>
        </p:nvSpPr>
        <p:spPr/>
        <p:txBody>
          <a:bodyPr/>
          <a:lstStyle/>
          <a:p>
            <a:pPr eaLnBrk="1" hangingPunct="1"/>
            <a:r>
              <a:rPr lang="da-DK" smtClean="0">
                <a:sym typeface="Verdana" pitchFamily="34" charset="0"/>
              </a:rPr>
              <a:t>Corps cétoniques</a:t>
            </a:r>
          </a:p>
        </p:txBody>
      </p:sp>
      <p:sp>
        <p:nvSpPr>
          <p:cNvPr id="14339" name="Content Placeholder 8"/>
          <p:cNvSpPr>
            <a:spLocks noGrp="1"/>
          </p:cNvSpPr>
          <p:nvPr>
            <p:ph sz="half" idx="4294967295"/>
          </p:nvPr>
        </p:nvSpPr>
        <p:spPr>
          <a:xfrm>
            <a:off x="476250" y="1625600"/>
            <a:ext cx="8343900" cy="3729038"/>
          </a:xfrm>
        </p:spPr>
        <p:txBody>
          <a:bodyPr/>
          <a:lstStyle/>
          <a:p>
            <a:pPr eaLnBrk="1" hangingPunct="1">
              <a:buClr>
                <a:srgbClr val="009FDA"/>
              </a:buClr>
            </a:pPr>
            <a:r>
              <a:rPr lang="da-DK" smtClean="0">
                <a:solidFill>
                  <a:srgbClr val="001965"/>
                </a:solidFill>
                <a:sym typeface="Verdana" pitchFamily="34" charset="0"/>
              </a:rPr>
              <a:t>Courants dans le diabète de type 1</a:t>
            </a:r>
          </a:p>
          <a:p>
            <a:pPr eaLnBrk="1" hangingPunct="1">
              <a:buClr>
                <a:srgbClr val="009FDA"/>
              </a:buClr>
            </a:pPr>
            <a:r>
              <a:rPr lang="da-DK" smtClean="0">
                <a:solidFill>
                  <a:srgbClr val="001965"/>
                </a:solidFill>
                <a:sym typeface="Verdana" pitchFamily="34" charset="0"/>
              </a:rPr>
              <a:t>Rares dans le diabète de type 2</a:t>
            </a:r>
          </a:p>
          <a:p>
            <a:pPr eaLnBrk="1" hangingPunct="1">
              <a:buClr>
                <a:srgbClr val="009FDA"/>
              </a:buClr>
            </a:pPr>
            <a:r>
              <a:rPr lang="da-DK" smtClean="0">
                <a:solidFill>
                  <a:srgbClr val="001965"/>
                </a:solidFill>
                <a:sym typeface="Verdana" pitchFamily="34" charset="0"/>
              </a:rPr>
              <a:t>Apparaissent lors de la décomposition des graisses</a:t>
            </a:r>
          </a:p>
          <a:p>
            <a:pPr eaLnBrk="1" hangingPunct="1">
              <a:buClr>
                <a:srgbClr val="009FDA"/>
              </a:buClr>
            </a:pPr>
            <a:r>
              <a:rPr lang="da-DK" smtClean="0">
                <a:solidFill>
                  <a:srgbClr val="001965"/>
                </a:solidFill>
                <a:sym typeface="Verdana" pitchFamily="34" charset="0"/>
              </a:rPr>
              <a:t>Sont potentiellement mortels</a:t>
            </a:r>
          </a:p>
          <a:p>
            <a:pPr eaLnBrk="1" hangingPunct="1">
              <a:buClr>
                <a:srgbClr val="009FDA"/>
              </a:buClr>
            </a:pPr>
            <a:r>
              <a:rPr lang="da-DK" smtClean="0">
                <a:solidFill>
                  <a:srgbClr val="001965"/>
                </a:solidFill>
                <a:sym typeface="Verdana" pitchFamily="34" charset="0"/>
              </a:rPr>
              <a:t>Signes et symptômes :</a:t>
            </a:r>
          </a:p>
          <a:p>
            <a:pPr marL="742950" lvl="1" indent="-285750" eaLnBrk="1" hangingPunct="1">
              <a:buClrTx/>
              <a:buFontTx/>
              <a:buNone/>
            </a:pPr>
            <a:r>
              <a:rPr lang="da-DK" smtClean="0">
                <a:solidFill>
                  <a:srgbClr val="001965"/>
                </a:solidFill>
                <a:sym typeface="Verdana" pitchFamily="34" charset="0"/>
              </a:rPr>
              <a:t>Odeur douce de l'haleine</a:t>
            </a:r>
          </a:p>
          <a:p>
            <a:pPr marL="742950" lvl="1" indent="-285750" eaLnBrk="1" hangingPunct="1">
              <a:buClrTx/>
              <a:buFontTx/>
              <a:buNone/>
            </a:pPr>
            <a:r>
              <a:rPr lang="da-DK" smtClean="0">
                <a:solidFill>
                  <a:srgbClr val="001965"/>
                </a:solidFill>
                <a:sym typeface="Verdana" pitchFamily="34" charset="0"/>
              </a:rPr>
              <a:t>Vomissements</a:t>
            </a:r>
          </a:p>
          <a:p>
            <a:pPr marL="742950" lvl="1" indent="-285750" eaLnBrk="1" hangingPunct="1">
              <a:buClrTx/>
              <a:buFontTx/>
              <a:buNone/>
            </a:pPr>
            <a:r>
              <a:rPr lang="da-DK" smtClean="0">
                <a:solidFill>
                  <a:srgbClr val="001965"/>
                </a:solidFill>
                <a:sym typeface="Verdana" pitchFamily="34" charset="0"/>
              </a:rPr>
              <a:t>Douleurs d'estomac</a:t>
            </a:r>
          </a:p>
          <a:p>
            <a:pPr marL="742950" lvl="1" indent="-285750" eaLnBrk="1" hangingPunct="1">
              <a:buClrTx/>
              <a:buFontTx/>
              <a:buNone/>
            </a:pPr>
            <a:r>
              <a:rPr lang="da-DK" smtClean="0">
                <a:solidFill>
                  <a:srgbClr val="001965"/>
                </a:solidFill>
                <a:sym typeface="Verdana" pitchFamily="34" charset="0"/>
              </a:rPr>
              <a:t>Respiration rapide/acidose respiratoire</a:t>
            </a:r>
          </a:p>
          <a:p>
            <a:pPr marL="742950" lvl="1" indent="-285750" eaLnBrk="1" hangingPunct="1">
              <a:buClrTx/>
              <a:buFontTx/>
              <a:buNone/>
            </a:pPr>
            <a:r>
              <a:rPr lang="da-DK" smtClean="0">
                <a:solidFill>
                  <a:srgbClr val="001965"/>
                </a:solidFill>
                <a:sym typeface="Verdana" pitchFamily="34" charset="0"/>
              </a:rPr>
              <a:t>Altération du niveau de conscience</a:t>
            </a:r>
          </a:p>
        </p:txBody>
      </p:sp>
      <p:sp>
        <p:nvSpPr>
          <p:cNvPr id="14340" name="Content Placeholder 9"/>
          <p:cNvSpPr>
            <a:spLocks noGrp="1"/>
          </p:cNvSpPr>
          <p:nvPr>
            <p:ph sz="half" idx="4294967295"/>
          </p:nvPr>
        </p:nvSpPr>
        <p:spPr>
          <a:xfrm>
            <a:off x="4645025" y="1625600"/>
            <a:ext cx="4017963" cy="3729038"/>
          </a:xfrm>
        </p:spPr>
        <p:txBody>
          <a:bodyPr/>
          <a:lstStyle/>
          <a:p>
            <a:pPr marL="0" indent="0" eaLnBrk="1" hangingPunct="1">
              <a:buFontTx/>
              <a:buNone/>
            </a:pPr>
            <a:endParaRPr lang="en-ZA" sz="2400" smtClean="0"/>
          </a:p>
          <a:p>
            <a:pPr marL="0" indent="0" eaLnBrk="1" hangingPunct="1"/>
            <a:endParaRPr lang="en-ZA" sz="2400" smtClean="0"/>
          </a:p>
        </p:txBody>
      </p:sp>
      <p:sp>
        <p:nvSpPr>
          <p:cNvPr id="13318" name="Slide Number Placeholder 5"/>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8F0163D9-3083-47EA-B794-27224E7BE1F0}" type="slidenum">
              <a:rPr lang="da-DK" smtClean="0">
                <a:solidFill>
                  <a:srgbClr val="009FDA"/>
                </a:solidFill>
                <a:sym typeface="Verdana" pitchFamily="34" charset="0"/>
              </a:rPr>
              <a:pPr eaLnBrk="0" hangingPunct="0">
                <a:buSzPct val="100000"/>
                <a:defRPr/>
              </a:pPr>
              <a:t>12</a:t>
            </a:fld>
            <a:endParaRPr lang="da-DK" smtClean="0">
              <a:solidFill>
                <a:srgbClr val="009FDA"/>
              </a:solidFill>
              <a:sym typeface="Verdana" pitchFamily="34" charset="0"/>
            </a:endParaRPr>
          </a:p>
        </p:txBody>
      </p:sp>
      <p:pic>
        <p:nvPicPr>
          <p:cNvPr id="14342"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idx="4294967295"/>
          </p:nvPr>
        </p:nvSpPr>
        <p:spPr/>
        <p:txBody>
          <a:bodyPr/>
          <a:lstStyle/>
          <a:p>
            <a:pPr eaLnBrk="1" hangingPunct="1"/>
            <a:r>
              <a:rPr lang="da-DK" smtClean="0">
                <a:sym typeface="Verdana" pitchFamily="34" charset="0"/>
              </a:rPr>
              <a:t>Symptômes et signes du </a:t>
            </a:r>
            <a:br>
              <a:rPr lang="da-DK" smtClean="0">
                <a:sym typeface="Verdana" pitchFamily="34" charset="0"/>
              </a:rPr>
            </a:br>
            <a:r>
              <a:rPr lang="da-DK" smtClean="0">
                <a:sym typeface="Verdana" pitchFamily="34" charset="0"/>
              </a:rPr>
              <a:t>diabète de type 1</a:t>
            </a:r>
          </a:p>
        </p:txBody>
      </p:sp>
      <p:sp>
        <p:nvSpPr>
          <p:cNvPr id="15363" name="Content Placeholder 5"/>
          <p:cNvSpPr>
            <a:spLocks noGrp="1"/>
          </p:cNvSpPr>
          <p:nvPr>
            <p:ph sz="half" idx="4294967295"/>
          </p:nvPr>
        </p:nvSpPr>
        <p:spPr>
          <a:xfrm>
            <a:off x="476250" y="1625600"/>
            <a:ext cx="4016375" cy="3729038"/>
          </a:xfrm>
        </p:spPr>
        <p:txBody>
          <a:bodyPr/>
          <a:lstStyle/>
          <a:p>
            <a:pPr marL="268288" indent="-268288" eaLnBrk="1" hangingPunct="1">
              <a:buClr>
                <a:srgbClr val="009FDA"/>
              </a:buClr>
            </a:pPr>
            <a:r>
              <a:rPr lang="da-DK" b="1" smtClean="0">
                <a:solidFill>
                  <a:srgbClr val="001965"/>
                </a:solidFill>
                <a:sym typeface="Verdana" pitchFamily="34" charset="0"/>
              </a:rPr>
              <a:t>Symptômes :</a:t>
            </a:r>
          </a:p>
          <a:p>
            <a:pPr marL="742950" lvl="1" indent="-285750" eaLnBrk="1" hangingPunct="1">
              <a:buClrTx/>
              <a:buFontTx/>
              <a:buNone/>
            </a:pPr>
            <a:r>
              <a:rPr lang="da-DK" smtClean="0">
                <a:solidFill>
                  <a:srgbClr val="001965"/>
                </a:solidFill>
                <a:sym typeface="Verdana" pitchFamily="34" charset="0"/>
              </a:rPr>
              <a:t>Léthargie</a:t>
            </a:r>
          </a:p>
          <a:p>
            <a:pPr marL="742950" lvl="1" indent="-285750" eaLnBrk="1" hangingPunct="1">
              <a:buClrTx/>
              <a:buFontTx/>
              <a:buNone/>
            </a:pPr>
            <a:r>
              <a:rPr lang="da-DK" b="1" smtClean="0">
                <a:solidFill>
                  <a:srgbClr val="001965"/>
                </a:solidFill>
                <a:sym typeface="Verdana" pitchFamily="34" charset="0"/>
              </a:rPr>
              <a:t>Augmentation du volume urinaire*</a:t>
            </a:r>
          </a:p>
          <a:p>
            <a:pPr marL="742950" lvl="1" indent="-285750" eaLnBrk="1" hangingPunct="1">
              <a:buClrTx/>
              <a:buFontTx/>
              <a:buNone/>
            </a:pPr>
            <a:r>
              <a:rPr lang="da-DK" smtClean="0">
                <a:solidFill>
                  <a:srgbClr val="001965"/>
                </a:solidFill>
                <a:sym typeface="Verdana" pitchFamily="34" charset="0"/>
              </a:rPr>
              <a:t>Augmentation de la soif</a:t>
            </a:r>
          </a:p>
          <a:p>
            <a:pPr marL="742950" lvl="1" indent="-285750" eaLnBrk="1" hangingPunct="1">
              <a:buClrTx/>
              <a:buFontTx/>
              <a:buNone/>
            </a:pPr>
            <a:r>
              <a:rPr lang="da-DK" b="1" smtClean="0">
                <a:solidFill>
                  <a:srgbClr val="001965"/>
                </a:solidFill>
                <a:sym typeface="Verdana" pitchFamily="34" charset="0"/>
              </a:rPr>
              <a:t>Incontinence nocturne*</a:t>
            </a:r>
          </a:p>
          <a:p>
            <a:pPr marL="742950" lvl="1" indent="-285750" eaLnBrk="1" hangingPunct="1">
              <a:buClrTx/>
              <a:buFontTx/>
              <a:buNone/>
            </a:pPr>
            <a:r>
              <a:rPr lang="da-DK" smtClean="0">
                <a:solidFill>
                  <a:srgbClr val="001965"/>
                </a:solidFill>
                <a:sym typeface="Verdana" pitchFamily="34" charset="0"/>
              </a:rPr>
              <a:t>Vomissements</a:t>
            </a:r>
          </a:p>
        </p:txBody>
      </p:sp>
      <p:sp>
        <p:nvSpPr>
          <p:cNvPr id="15364" name="Content Placeholder 6"/>
          <p:cNvSpPr>
            <a:spLocks noGrp="1"/>
          </p:cNvSpPr>
          <p:nvPr>
            <p:ph sz="half" idx="4294967295"/>
          </p:nvPr>
        </p:nvSpPr>
        <p:spPr>
          <a:xfrm>
            <a:off x="4645025" y="1625600"/>
            <a:ext cx="4017963" cy="3729038"/>
          </a:xfrm>
        </p:spPr>
        <p:txBody>
          <a:bodyPr/>
          <a:lstStyle/>
          <a:p>
            <a:pPr marL="268288" indent="-268288" eaLnBrk="1" hangingPunct="1">
              <a:buClr>
                <a:srgbClr val="009FDA"/>
              </a:buClr>
            </a:pPr>
            <a:r>
              <a:rPr lang="da-DK" b="1" smtClean="0">
                <a:solidFill>
                  <a:srgbClr val="001965"/>
                </a:solidFill>
                <a:sym typeface="Verdana" pitchFamily="34" charset="0"/>
              </a:rPr>
              <a:t>Signes :</a:t>
            </a:r>
          </a:p>
          <a:p>
            <a:pPr marL="742950" lvl="1" indent="-285750" eaLnBrk="1" hangingPunct="1">
              <a:buClrTx/>
              <a:buFontTx/>
              <a:buNone/>
            </a:pPr>
            <a:r>
              <a:rPr lang="da-DK" smtClean="0">
                <a:solidFill>
                  <a:srgbClr val="001965"/>
                </a:solidFill>
                <a:sym typeface="Verdana" pitchFamily="34" charset="0"/>
              </a:rPr>
              <a:t>Perte de poids</a:t>
            </a:r>
          </a:p>
          <a:p>
            <a:pPr marL="742950" lvl="1" indent="-285750" eaLnBrk="1" hangingPunct="1">
              <a:buClrTx/>
              <a:buFontTx/>
              <a:buNone/>
            </a:pPr>
            <a:r>
              <a:rPr lang="da-DK" smtClean="0">
                <a:solidFill>
                  <a:srgbClr val="001965"/>
                </a:solidFill>
                <a:sym typeface="Verdana" pitchFamily="34" charset="0"/>
              </a:rPr>
              <a:t>Déshydratation</a:t>
            </a:r>
          </a:p>
          <a:p>
            <a:pPr marL="742950" lvl="1" indent="-285750" eaLnBrk="1" hangingPunct="1">
              <a:buClrTx/>
              <a:buFontTx/>
              <a:buNone/>
            </a:pPr>
            <a:r>
              <a:rPr lang="da-DK" smtClean="0">
                <a:solidFill>
                  <a:srgbClr val="001965"/>
                </a:solidFill>
                <a:sym typeface="Verdana" pitchFamily="34" charset="0"/>
              </a:rPr>
              <a:t>Altération du niveau de conscience</a:t>
            </a:r>
          </a:p>
          <a:p>
            <a:pPr marL="742950" lvl="1" indent="-285750" eaLnBrk="1" hangingPunct="1">
              <a:buClrTx/>
              <a:buFontTx/>
              <a:buNone/>
            </a:pPr>
            <a:r>
              <a:rPr lang="da-DK" smtClean="0">
                <a:solidFill>
                  <a:srgbClr val="001965"/>
                </a:solidFill>
                <a:sym typeface="Verdana" pitchFamily="34" charset="0"/>
              </a:rPr>
              <a:t>Respiration rapide/acidose respiratoire</a:t>
            </a:r>
          </a:p>
          <a:p>
            <a:pPr marL="742950" lvl="1" indent="-285750" eaLnBrk="1" hangingPunct="1">
              <a:buClrTx/>
              <a:buFontTx/>
              <a:buNone/>
            </a:pPr>
            <a:r>
              <a:rPr lang="da-DK" smtClean="0">
                <a:solidFill>
                  <a:srgbClr val="001965"/>
                </a:solidFill>
                <a:sym typeface="Verdana" pitchFamily="34" charset="0"/>
              </a:rPr>
              <a:t>Odeur fruitée</a:t>
            </a:r>
          </a:p>
        </p:txBody>
      </p:sp>
      <p:sp>
        <p:nvSpPr>
          <p:cNvPr id="14342" name="Slide Number Placeholder 3"/>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835DA5B1-D44C-4FC0-83C0-AC13F93CAF50}" type="slidenum">
              <a:rPr lang="da-DK" smtClean="0">
                <a:solidFill>
                  <a:srgbClr val="009FDA"/>
                </a:solidFill>
                <a:sym typeface="Verdana" pitchFamily="34" charset="0"/>
              </a:rPr>
              <a:pPr eaLnBrk="0" hangingPunct="0">
                <a:buSzPct val="100000"/>
                <a:defRPr/>
              </a:pPr>
              <a:t>13</a:t>
            </a:fld>
            <a:endParaRPr lang="da-DK" smtClean="0">
              <a:solidFill>
                <a:srgbClr val="009FDA"/>
              </a:solidFill>
              <a:sym typeface="Verdana" pitchFamily="34" charset="0"/>
            </a:endParaRPr>
          </a:p>
        </p:txBody>
      </p:sp>
      <p:sp>
        <p:nvSpPr>
          <p:cNvPr id="15366" name="Rectangle 7"/>
          <p:cNvSpPr>
            <a:spLocks noChangeArrowheads="1"/>
          </p:cNvSpPr>
          <p:nvPr/>
        </p:nvSpPr>
        <p:spPr bwMode="auto">
          <a:xfrm>
            <a:off x="468313" y="4724400"/>
            <a:ext cx="3671887" cy="792163"/>
          </a:xfrm>
          <a:prstGeom prst="rect">
            <a:avLst/>
          </a:prstGeom>
          <a:noFill/>
          <a:ln w="3175" algn="ctr">
            <a:solidFill>
              <a:schemeClr val="accent1"/>
            </a:solidFill>
            <a:round/>
            <a:headEnd/>
            <a:tailEnd/>
          </a:ln>
        </p:spPr>
        <p:txBody>
          <a:bodyPr wrap="none" lIns="72000" tIns="72000" rIns="72000" bIns="72000" anchor="ctr"/>
          <a:lstStyle/>
          <a:p>
            <a:pPr algn="ctr" eaLnBrk="0" hangingPunct="0">
              <a:spcBef>
                <a:spcPct val="50000"/>
              </a:spcBef>
              <a:buSzPct val="100000"/>
            </a:pPr>
            <a:r>
              <a:rPr lang="da-DK" sz="1200">
                <a:sym typeface="Verdana" pitchFamily="34" charset="0"/>
              </a:rPr>
              <a:t>*) Points essentiels à distinguer </a:t>
            </a:r>
          </a:p>
          <a:p>
            <a:pPr algn="ctr" eaLnBrk="0" hangingPunct="0">
              <a:spcBef>
                <a:spcPct val="50000"/>
              </a:spcBef>
              <a:buSzPct val="100000"/>
            </a:pPr>
            <a:r>
              <a:rPr lang="da-DK" sz="1200">
                <a:sym typeface="Verdana" pitchFamily="34" charset="0"/>
              </a:rPr>
              <a:t>de la plupart des autres situations de déshydratation</a:t>
            </a:r>
          </a:p>
          <a:p>
            <a:pPr algn="ctr" eaLnBrk="0" hangingPunct="0">
              <a:spcBef>
                <a:spcPct val="50000"/>
              </a:spcBef>
              <a:buSzPct val="100000"/>
            </a:pPr>
            <a:r>
              <a:rPr lang="da-DK" sz="1200">
                <a:sym typeface="Verdana" pitchFamily="34" charset="0"/>
              </a:rPr>
              <a:t> présentes aux urgences</a:t>
            </a:r>
          </a:p>
        </p:txBody>
      </p:sp>
      <p:pic>
        <p:nvPicPr>
          <p:cNvPr id="15367"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7"/>
          <p:cNvSpPr>
            <a:spLocks noGrp="1"/>
          </p:cNvSpPr>
          <p:nvPr>
            <p:ph type="title" idx="4294967295"/>
          </p:nvPr>
        </p:nvSpPr>
        <p:spPr/>
        <p:txBody>
          <a:bodyPr/>
          <a:lstStyle/>
          <a:p>
            <a:pPr eaLnBrk="1" hangingPunct="1"/>
            <a:r>
              <a:rPr lang="da-DK" smtClean="0">
                <a:sym typeface="Verdana" pitchFamily="34" charset="0"/>
              </a:rPr>
              <a:t>Poster de la Journée mondiale du diabète</a:t>
            </a:r>
          </a:p>
        </p:txBody>
      </p:sp>
      <p:sp>
        <p:nvSpPr>
          <p:cNvPr id="15364" name="Slide Number Placeholder 5"/>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394BC0EA-46CE-439F-B3C2-F6A4AFCE1B0B}" type="slidenum">
              <a:rPr lang="da-DK" smtClean="0">
                <a:solidFill>
                  <a:srgbClr val="009FDA"/>
                </a:solidFill>
                <a:sym typeface="Verdana" pitchFamily="34" charset="0"/>
              </a:rPr>
              <a:pPr eaLnBrk="0" hangingPunct="0">
                <a:buSzPct val="100000"/>
                <a:defRPr/>
              </a:pPr>
              <a:t>14</a:t>
            </a:fld>
            <a:endParaRPr lang="da-DK" smtClean="0">
              <a:solidFill>
                <a:srgbClr val="009FDA"/>
              </a:solidFill>
              <a:sym typeface="Verdana" pitchFamily="34" charset="0"/>
            </a:endParaRPr>
          </a:p>
        </p:txBody>
      </p:sp>
      <p:pic>
        <p:nvPicPr>
          <p:cNvPr id="16388" name="Picture 2" descr="DKA IDF poster 2008"/>
          <p:cNvPicPr>
            <a:picLocks noChangeAspect="1" noChangeArrowheads="1"/>
          </p:cNvPicPr>
          <p:nvPr/>
        </p:nvPicPr>
        <p:blipFill>
          <a:blip r:embed="rId3"/>
          <a:srcRect/>
          <a:stretch>
            <a:fillRect/>
          </a:stretch>
        </p:blipFill>
        <p:spPr bwMode="auto">
          <a:xfrm>
            <a:off x="2122488" y="1484313"/>
            <a:ext cx="4305300" cy="4176712"/>
          </a:xfrm>
          <a:prstGeom prst="rect">
            <a:avLst/>
          </a:prstGeom>
          <a:noFill/>
          <a:ln w="9525">
            <a:noFill/>
            <a:miter lim="800000"/>
            <a:headEnd/>
            <a:tailEnd/>
          </a:ln>
        </p:spPr>
      </p:pic>
      <p:pic>
        <p:nvPicPr>
          <p:cNvPr id="16389" name="Picture 3" descr="cdic.jpg"/>
          <p:cNvPicPr>
            <a:picLocks noChangeAspect="1"/>
          </p:cNvPicPr>
          <p:nvPr/>
        </p:nvPicPr>
        <p:blipFill>
          <a:blip r:embed="rId4"/>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5"/>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Le diabète de type 2</a:t>
            </a:r>
          </a:p>
        </p:txBody>
      </p:sp>
      <p:sp>
        <p:nvSpPr>
          <p:cNvPr id="17411" name="Content Placeholder 6"/>
          <p:cNvSpPr>
            <a:spLocks noGrp="1"/>
          </p:cNvSpPr>
          <p:nvPr>
            <p:ph idx="4294967295"/>
          </p:nvPr>
        </p:nvSpPr>
        <p:spPr/>
        <p:txBody>
          <a:bodyPr/>
          <a:lstStyle/>
          <a:p>
            <a:pPr eaLnBrk="1" hangingPunct="1">
              <a:spcAft>
                <a:spcPct val="10000"/>
              </a:spcAft>
              <a:buClr>
                <a:srgbClr val="009FDA"/>
              </a:buClr>
            </a:pPr>
            <a:r>
              <a:rPr lang="da-DK" smtClean="0">
                <a:solidFill>
                  <a:srgbClr val="001965"/>
                </a:solidFill>
                <a:sym typeface="Verdana" pitchFamily="34" charset="0"/>
              </a:rPr>
              <a:t>Observé habituellement chez les personnes plus âgées</a:t>
            </a:r>
          </a:p>
          <a:p>
            <a:pPr eaLnBrk="1" hangingPunct="1">
              <a:spcAft>
                <a:spcPct val="10000"/>
              </a:spcAft>
              <a:buClr>
                <a:srgbClr val="009FDA"/>
              </a:buClr>
            </a:pPr>
            <a:r>
              <a:rPr lang="da-DK" smtClean="0">
                <a:solidFill>
                  <a:srgbClr val="001965"/>
                </a:solidFill>
                <a:sym typeface="Verdana" pitchFamily="34" charset="0"/>
              </a:rPr>
              <a:t>Dû à la résistance aux effets de l'insuline</a:t>
            </a:r>
          </a:p>
          <a:p>
            <a:pPr eaLnBrk="1" hangingPunct="1">
              <a:spcAft>
                <a:spcPct val="10000"/>
              </a:spcAft>
              <a:buClr>
                <a:srgbClr val="009FDA"/>
              </a:buClr>
            </a:pPr>
            <a:r>
              <a:rPr lang="da-DK" smtClean="0">
                <a:solidFill>
                  <a:srgbClr val="001965"/>
                </a:solidFill>
                <a:sym typeface="Verdana" pitchFamily="34" charset="0"/>
              </a:rPr>
              <a:t>Souvent associé à l'obésité</a:t>
            </a:r>
          </a:p>
          <a:p>
            <a:pPr eaLnBrk="1" hangingPunct="1">
              <a:spcAft>
                <a:spcPct val="10000"/>
              </a:spcAft>
              <a:buClr>
                <a:srgbClr val="009FDA"/>
              </a:buClr>
            </a:pPr>
            <a:r>
              <a:rPr lang="da-DK" smtClean="0">
                <a:solidFill>
                  <a:srgbClr val="001965"/>
                </a:solidFill>
                <a:sym typeface="Verdana" pitchFamily="34" charset="0"/>
              </a:rPr>
              <a:t>Souvent asymptomatique</a:t>
            </a:r>
          </a:p>
          <a:p>
            <a:pPr eaLnBrk="1" hangingPunct="1">
              <a:spcAft>
                <a:spcPct val="10000"/>
              </a:spcAft>
              <a:buClr>
                <a:srgbClr val="009FDA"/>
              </a:buClr>
            </a:pPr>
            <a:r>
              <a:rPr lang="da-DK" smtClean="0">
                <a:solidFill>
                  <a:srgbClr val="001965"/>
                </a:solidFill>
                <a:sym typeface="Verdana" pitchFamily="34" charset="0"/>
              </a:rPr>
              <a:t>Traité par une modification du style de vie et une médication orale</a:t>
            </a:r>
          </a:p>
          <a:p>
            <a:pPr eaLnBrk="1" hangingPunct="1">
              <a:spcAft>
                <a:spcPct val="10000"/>
              </a:spcAft>
              <a:buClr>
                <a:srgbClr val="009FDA"/>
              </a:buClr>
            </a:pPr>
            <a:r>
              <a:rPr lang="da-DK" b="1" smtClean="0">
                <a:solidFill>
                  <a:srgbClr val="001965"/>
                </a:solidFill>
                <a:sym typeface="Verdana" pitchFamily="34" charset="0"/>
              </a:rPr>
              <a:t>De plus en plus fréquent chez les jeunes dont l'obésité se développe toujours plus tôt, partout dans le monde </a:t>
            </a:r>
          </a:p>
        </p:txBody>
      </p:sp>
      <p:sp>
        <p:nvSpPr>
          <p:cNvPr id="16389" name="Slide Number Placeholder 3"/>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9B97845F-C579-45B8-A078-0EEB1C57F6BD}" type="slidenum">
              <a:rPr lang="da-DK" smtClean="0">
                <a:solidFill>
                  <a:srgbClr val="009FDA"/>
                </a:solidFill>
                <a:sym typeface="Verdana" pitchFamily="34" charset="0"/>
              </a:rPr>
              <a:pPr eaLnBrk="0" hangingPunct="0">
                <a:buSzPct val="100000"/>
                <a:defRPr/>
              </a:pPr>
              <a:t>15</a:t>
            </a:fld>
            <a:endParaRPr lang="da-DK" smtClean="0">
              <a:solidFill>
                <a:srgbClr val="009FDA"/>
              </a:solidFill>
              <a:sym typeface="Verdana" pitchFamily="34" charset="0"/>
            </a:endParaRPr>
          </a:p>
        </p:txBody>
      </p:sp>
      <p:pic>
        <p:nvPicPr>
          <p:cNvPr id="17413"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Les autres types de diabète</a:t>
            </a:r>
          </a:p>
        </p:txBody>
      </p:sp>
      <p:sp>
        <p:nvSpPr>
          <p:cNvPr id="18435" name="Content Placeholder 2"/>
          <p:cNvSpPr>
            <a:spLocks noGrp="1"/>
          </p:cNvSpPr>
          <p:nvPr>
            <p:ph idx="4294967295"/>
          </p:nvPr>
        </p:nvSpPr>
        <p:spPr/>
        <p:txBody>
          <a:bodyPr/>
          <a:lstStyle/>
          <a:p>
            <a:pPr eaLnBrk="1" hangingPunct="1">
              <a:spcAft>
                <a:spcPct val="10000"/>
              </a:spcAft>
              <a:buClr>
                <a:srgbClr val="009FDA"/>
              </a:buClr>
            </a:pPr>
            <a:r>
              <a:rPr lang="da-DK" smtClean="0">
                <a:solidFill>
                  <a:srgbClr val="001965"/>
                </a:solidFill>
                <a:sym typeface="Verdana" pitchFamily="34" charset="0"/>
              </a:rPr>
              <a:t>Le diabète associé à la malnutrition</a:t>
            </a:r>
          </a:p>
          <a:p>
            <a:pPr eaLnBrk="1" hangingPunct="1">
              <a:spcAft>
                <a:spcPct val="10000"/>
              </a:spcAft>
              <a:buClr>
                <a:srgbClr val="009FDA"/>
              </a:buClr>
            </a:pPr>
            <a:r>
              <a:rPr lang="da-DK" smtClean="0">
                <a:solidFill>
                  <a:srgbClr val="001965"/>
                </a:solidFill>
                <a:sym typeface="Verdana" pitchFamily="34" charset="0"/>
              </a:rPr>
              <a:t>Le diabète du nouveau-né</a:t>
            </a:r>
          </a:p>
          <a:p>
            <a:pPr eaLnBrk="1" hangingPunct="1">
              <a:spcAft>
                <a:spcPct val="10000"/>
              </a:spcAft>
              <a:buClr>
                <a:srgbClr val="009FDA"/>
              </a:buClr>
            </a:pPr>
            <a:r>
              <a:rPr lang="da-DK" smtClean="0">
                <a:solidFill>
                  <a:srgbClr val="001965"/>
                </a:solidFill>
                <a:sym typeface="Verdana" pitchFamily="34" charset="0"/>
              </a:rPr>
              <a:t>Le diabète de type MODY</a:t>
            </a:r>
          </a:p>
          <a:p>
            <a:pPr eaLnBrk="1" hangingPunct="1">
              <a:spcAft>
                <a:spcPct val="10000"/>
              </a:spcAft>
              <a:buClr>
                <a:srgbClr val="009FDA"/>
              </a:buClr>
            </a:pPr>
            <a:r>
              <a:rPr lang="da-DK" smtClean="0">
                <a:solidFill>
                  <a:srgbClr val="001965"/>
                </a:solidFill>
                <a:sym typeface="Verdana" pitchFamily="34" charset="0"/>
              </a:rPr>
              <a:t>Le diabète gestationnel</a:t>
            </a:r>
          </a:p>
        </p:txBody>
      </p:sp>
      <p:sp>
        <p:nvSpPr>
          <p:cNvPr id="17413"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BFD10958-A085-4F5C-9C62-F3F8E2B9BC70}" type="slidenum">
              <a:rPr lang="da-DK" smtClean="0">
                <a:solidFill>
                  <a:srgbClr val="009FDA"/>
                </a:solidFill>
                <a:sym typeface="Verdana" pitchFamily="34" charset="0"/>
              </a:rPr>
              <a:pPr eaLnBrk="0" hangingPunct="0">
                <a:buSzPct val="100000"/>
                <a:defRPr/>
              </a:pPr>
              <a:t>16</a:t>
            </a:fld>
            <a:endParaRPr lang="da-DK" smtClean="0">
              <a:solidFill>
                <a:srgbClr val="009FDA"/>
              </a:solidFill>
              <a:sym typeface="Verdana" pitchFamily="34" charset="0"/>
            </a:endParaRPr>
          </a:p>
        </p:txBody>
      </p:sp>
      <p:pic>
        <p:nvPicPr>
          <p:cNvPr id="18437"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idx="4294967295"/>
          </p:nvPr>
        </p:nvSpPr>
        <p:spPr>
          <a:xfrm>
            <a:off x="539750" y="476250"/>
            <a:ext cx="8188325" cy="801688"/>
          </a:xfrm>
        </p:spPr>
        <p:txBody>
          <a:bodyPr/>
          <a:lstStyle/>
          <a:p>
            <a:pPr eaLnBrk="1" hangingPunct="1"/>
            <a:r>
              <a:rPr lang="da-DK" smtClean="0">
                <a:sym typeface="Verdana" pitchFamily="34" charset="0"/>
              </a:rPr>
              <a:t>Questions</a:t>
            </a:r>
          </a:p>
        </p:txBody>
      </p:sp>
      <p:pic>
        <p:nvPicPr>
          <p:cNvPr id="19459" name="Picture 3" descr="questionmark.jpg"/>
          <p:cNvPicPr>
            <a:picLocks noChangeAspect="1"/>
          </p:cNvPicPr>
          <p:nvPr/>
        </p:nvPicPr>
        <p:blipFill>
          <a:blip r:embed="rId3"/>
          <a:srcRect/>
          <a:stretch>
            <a:fillRect/>
          </a:stretch>
        </p:blipFill>
        <p:spPr bwMode="auto">
          <a:xfrm>
            <a:off x="2667000" y="1524000"/>
            <a:ext cx="3810000" cy="3810000"/>
          </a:xfrm>
          <a:prstGeom prst="rect">
            <a:avLst/>
          </a:prstGeom>
          <a:noFill/>
          <a:ln w="9525">
            <a:noFill/>
            <a:miter lim="800000"/>
            <a:headEnd/>
            <a:tailEnd/>
          </a:ln>
        </p:spPr>
      </p:pic>
      <p:pic>
        <p:nvPicPr>
          <p:cNvPr id="19460" name="Picture 4" descr="cdic.jpg"/>
          <p:cNvPicPr>
            <a:picLocks noChangeAspect="1"/>
          </p:cNvPicPr>
          <p:nvPr/>
        </p:nvPicPr>
        <p:blipFill>
          <a:blip r:embed="rId4"/>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4"/>
          <p:cNvSpPr>
            <a:spLocks noGrp="1" noChangeArrowheads="1"/>
          </p:cNvSpPr>
          <p:nvPr>
            <p:ph type="ftr" sz="quarter" idx="10"/>
          </p:nvPr>
        </p:nvSpPr>
        <p:spPr>
          <a:xfrm>
            <a:off x="395288" y="0"/>
            <a:ext cx="6519862" cy="620713"/>
          </a:xfrm>
        </p:spPr>
        <p:txBody>
          <a:bodyPr anchor="b"/>
          <a:lstStyle/>
          <a:p>
            <a:pPr eaLnBrk="0" hangingPunct="0">
              <a:buSzPct val="100000"/>
              <a:defRPr/>
            </a:pPr>
            <a:r>
              <a:rPr lang="da-DK" smtClean="0">
                <a:solidFill>
                  <a:srgbClr val="FFFFFF"/>
                </a:solidFill>
                <a:sym typeface="Verdana" pitchFamily="34" charset="0"/>
              </a:rPr>
              <a:t>Presentation title</a:t>
            </a:r>
          </a:p>
        </p:txBody>
      </p:sp>
      <p:sp>
        <p:nvSpPr>
          <p:cNvPr id="20483" name="Rectangle 2"/>
          <p:cNvSpPr>
            <a:spLocks noGrp="1" noChangeArrowheads="1"/>
          </p:cNvSpPr>
          <p:nvPr>
            <p:ph type="ctrTitle" idx="4294967295"/>
          </p:nvPr>
        </p:nvSpPr>
        <p:spPr>
          <a:xfrm>
            <a:off x="468313" y="1773238"/>
            <a:ext cx="3668712" cy="363537"/>
          </a:xfrm>
        </p:spPr>
        <p:txBody>
          <a:bodyPr anchor="b"/>
          <a:lstStyle/>
          <a:p>
            <a:pPr eaLnBrk="1" hangingPunct="1">
              <a:lnSpc>
                <a:spcPct val="85000"/>
              </a:lnSpc>
            </a:pPr>
            <a:r>
              <a:rPr lang="da-DK" sz="1800" smtClean="0">
                <a:sym typeface="Verdana" pitchFamily="34" charset="0"/>
              </a:rPr>
              <a:t>Confirmation du diagnostic</a:t>
            </a:r>
          </a:p>
        </p:txBody>
      </p:sp>
      <p:pic>
        <p:nvPicPr>
          <p:cNvPr id="20484" name="Picture 7" descr="cdic.jpg"/>
          <p:cNvPicPr>
            <a:picLocks noChangeAspect="1"/>
          </p:cNvPicPr>
          <p:nvPr/>
        </p:nvPicPr>
        <p:blipFill>
          <a:blip r:embed="rId3"/>
          <a:srcRect/>
          <a:stretch>
            <a:fillRect/>
          </a:stretch>
        </p:blipFill>
        <p:spPr bwMode="auto">
          <a:xfrm>
            <a:off x="485775" y="333375"/>
            <a:ext cx="2314575" cy="1225550"/>
          </a:xfrm>
          <a:prstGeom prst="rect">
            <a:avLst/>
          </a:prstGeom>
          <a:noFill/>
          <a:ln w="9525">
            <a:noFill/>
            <a:miter lim="800000"/>
            <a:headEnd/>
            <a:tailEnd/>
          </a:ln>
        </p:spPr>
      </p:pic>
      <p:pic>
        <p:nvPicPr>
          <p:cNvPr id="20485" name="Picture 10" descr="JRE-NOVONORDISK-CDIC-UG ETH DRC-20100909-201009091663 (Large)"/>
          <p:cNvPicPr>
            <a:picLocks noChangeAspect="1" noChangeArrowheads="1"/>
          </p:cNvPicPr>
          <p:nvPr/>
        </p:nvPicPr>
        <p:blipFill>
          <a:blip r:embed="rId4"/>
          <a:srcRect t="19232" b="26305"/>
          <a:stretch>
            <a:fillRect/>
          </a:stretch>
        </p:blipFill>
        <p:spPr bwMode="auto">
          <a:xfrm>
            <a:off x="0" y="2420938"/>
            <a:ext cx="9144000" cy="33131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Critères de diagnostic</a:t>
            </a:r>
          </a:p>
        </p:txBody>
      </p:sp>
      <p:sp>
        <p:nvSpPr>
          <p:cNvPr id="21507" name="Content Placeholder 2"/>
          <p:cNvSpPr>
            <a:spLocks noGrp="1"/>
          </p:cNvSpPr>
          <p:nvPr>
            <p:ph idx="4294967295"/>
          </p:nvPr>
        </p:nvSpPr>
        <p:spPr/>
        <p:txBody>
          <a:bodyPr/>
          <a:lstStyle/>
          <a:p>
            <a:pPr eaLnBrk="1" hangingPunct="1">
              <a:spcAft>
                <a:spcPct val="10000"/>
              </a:spcAft>
              <a:buClr>
                <a:srgbClr val="009FDA"/>
              </a:buClr>
            </a:pPr>
            <a:r>
              <a:rPr lang="da-DK" smtClean="0">
                <a:solidFill>
                  <a:srgbClr val="001965"/>
                </a:solidFill>
                <a:sym typeface="Verdana" pitchFamily="34" charset="0"/>
              </a:rPr>
              <a:t>Symptômes du diabète accompagnés d’une glycémie occasionnelle ou aléatoire supérieure ou égale à 11,1 mmol/l (200 mg/dl)</a:t>
            </a:r>
          </a:p>
          <a:p>
            <a:pPr eaLnBrk="1" hangingPunct="1">
              <a:spcAft>
                <a:spcPct val="10000"/>
              </a:spcAft>
              <a:buClrTx/>
              <a:buFontTx/>
              <a:buNone/>
            </a:pPr>
            <a:r>
              <a:rPr lang="da-DK" b="1" smtClean="0">
                <a:solidFill>
                  <a:srgbClr val="001965"/>
                </a:solidFill>
                <a:sym typeface="Verdana" pitchFamily="34" charset="0"/>
              </a:rPr>
              <a:t>OU</a:t>
            </a:r>
          </a:p>
          <a:p>
            <a:pPr eaLnBrk="1" hangingPunct="1">
              <a:spcAft>
                <a:spcPct val="10000"/>
              </a:spcAft>
              <a:buClr>
                <a:srgbClr val="009FDA"/>
              </a:buClr>
            </a:pPr>
            <a:r>
              <a:rPr lang="da-DK" smtClean="0">
                <a:solidFill>
                  <a:srgbClr val="001965"/>
                </a:solidFill>
                <a:sym typeface="Verdana" pitchFamily="34" charset="0"/>
              </a:rPr>
              <a:t>Glycémie à jeun supérieure ou égale à 7,0 mmol/l (126 mg/dl)</a:t>
            </a:r>
          </a:p>
          <a:p>
            <a:pPr eaLnBrk="1" hangingPunct="1">
              <a:spcAft>
                <a:spcPct val="10000"/>
              </a:spcAft>
              <a:buClr>
                <a:srgbClr val="009FDA"/>
              </a:buClr>
            </a:pPr>
            <a:r>
              <a:rPr lang="da-DK" smtClean="0">
                <a:solidFill>
                  <a:srgbClr val="001965"/>
                </a:solidFill>
                <a:sym typeface="Verdana" pitchFamily="34" charset="0"/>
              </a:rPr>
              <a:t>Dosage de la glycémie en laboratoire</a:t>
            </a:r>
          </a:p>
          <a:p>
            <a:pPr eaLnBrk="1" hangingPunct="1">
              <a:spcAft>
                <a:spcPct val="10000"/>
              </a:spcAft>
              <a:buClr>
                <a:srgbClr val="009FDA"/>
              </a:buClr>
            </a:pPr>
            <a:r>
              <a:rPr lang="da-DK" smtClean="0">
                <a:solidFill>
                  <a:srgbClr val="001965"/>
                </a:solidFill>
                <a:sym typeface="Verdana" pitchFamily="34" charset="0"/>
              </a:rPr>
              <a:t>Glucomètre</a:t>
            </a:r>
          </a:p>
        </p:txBody>
      </p:sp>
      <p:sp>
        <p:nvSpPr>
          <p:cNvPr id="20485"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B981727B-8FDD-412C-8D66-DBBF6C3C7937}" type="slidenum">
              <a:rPr lang="da-DK" smtClean="0">
                <a:solidFill>
                  <a:srgbClr val="009FDA"/>
                </a:solidFill>
                <a:sym typeface="Verdana" pitchFamily="34" charset="0"/>
              </a:rPr>
              <a:pPr eaLnBrk="0" hangingPunct="0">
                <a:buSzPct val="100000"/>
                <a:defRPr/>
              </a:pPr>
              <a:t>19</a:t>
            </a:fld>
            <a:endParaRPr lang="da-DK" smtClean="0">
              <a:solidFill>
                <a:srgbClr val="009FDA"/>
              </a:solidFill>
              <a:sym typeface="Verdana" pitchFamily="34" charset="0"/>
            </a:endParaRPr>
          </a:p>
        </p:txBody>
      </p:sp>
      <p:pic>
        <p:nvPicPr>
          <p:cNvPr id="21509"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AutoShape 5"/>
          <p:cNvSpPr>
            <a:spLocks noChangeArrowheads="1"/>
          </p:cNvSpPr>
          <p:nvPr/>
        </p:nvSpPr>
        <p:spPr bwMode="auto">
          <a:xfrm>
            <a:off x="684213" y="1858963"/>
            <a:ext cx="519112" cy="395287"/>
          </a:xfrm>
          <a:prstGeom prst="roundRect">
            <a:avLst>
              <a:gd name="adj" fmla="val 23718"/>
            </a:avLst>
          </a:prstGeom>
          <a:noFill/>
          <a:ln w="19050">
            <a:noFill/>
            <a:round/>
            <a:headEnd/>
            <a:tailEnd/>
          </a:ln>
        </p:spPr>
        <p:txBody>
          <a:bodyPr anchor="ctr"/>
          <a:lstStyle/>
          <a:p>
            <a:pPr eaLnBrk="0" hangingPunct="0">
              <a:lnSpc>
                <a:spcPct val="90000"/>
              </a:lnSpc>
              <a:buSzPct val="100000"/>
            </a:pPr>
            <a:r>
              <a:rPr lang="da-DK" sz="2000">
                <a:solidFill>
                  <a:srgbClr val="009FDA"/>
                </a:solidFill>
                <a:sym typeface="Verdana" pitchFamily="34" charset="0"/>
              </a:rPr>
              <a:t>1</a:t>
            </a:r>
          </a:p>
        </p:txBody>
      </p:sp>
      <p:sp>
        <p:nvSpPr>
          <p:cNvPr id="11" name="AutoShape 4"/>
          <p:cNvSpPr>
            <a:spLocks noChangeArrowheads="1"/>
          </p:cNvSpPr>
          <p:nvPr/>
        </p:nvSpPr>
        <p:spPr bwMode="auto">
          <a:xfrm>
            <a:off x="1258888" y="1844675"/>
            <a:ext cx="4465637" cy="395288"/>
          </a:xfrm>
          <a:prstGeom prst="roundRect">
            <a:avLst>
              <a:gd name="adj" fmla="val 21130"/>
            </a:avLst>
          </a:prstGeom>
          <a:gradFill flip="none" rotWithShape="0">
            <a:gsLst>
              <a:gs pos="0">
                <a:schemeClr val="accent2"/>
              </a:gs>
              <a:gs pos="100000">
                <a:schemeClr val="accent2"/>
              </a:gs>
              <a:gs pos="50000">
                <a:schemeClr val="accent1"/>
              </a:gs>
            </a:gsLst>
            <a:lin ang="0" scaled="1"/>
            <a:tileRect/>
          </a:gradFill>
          <a:ln w="19050">
            <a:solidFill>
              <a:schemeClr val="bg1"/>
            </a:solidFill>
            <a:round/>
            <a:headEnd/>
            <a:tailEnd/>
          </a:ln>
        </p:spPr>
        <p:txBody>
          <a:bodyPr anchor="ctr"/>
          <a:lstStyle/>
          <a:p>
            <a:pPr eaLnBrk="0" hangingPunct="0">
              <a:lnSpc>
                <a:spcPct val="90000"/>
              </a:lnSpc>
              <a:buSzPct val="100000"/>
              <a:defRPr/>
            </a:pPr>
            <a:r>
              <a:rPr lang="da-DK" sz="1600" b="0">
                <a:solidFill>
                  <a:srgbClr val="FFFFFF"/>
                </a:solidFill>
                <a:ea typeface="Verdana" pitchFamily="34" charset="0"/>
                <a:cs typeface="Verdana" pitchFamily="34" charset="0"/>
                <a:sym typeface="Verdana" pitchFamily="34" charset="0"/>
              </a:rPr>
              <a:t>Présomption du diabète</a:t>
            </a:r>
          </a:p>
        </p:txBody>
      </p:sp>
      <p:sp>
        <p:nvSpPr>
          <p:cNvPr id="17" name="AutoShape 4"/>
          <p:cNvSpPr>
            <a:spLocks noChangeArrowheads="1"/>
          </p:cNvSpPr>
          <p:nvPr/>
        </p:nvSpPr>
        <p:spPr bwMode="auto">
          <a:xfrm>
            <a:off x="1258888" y="2439988"/>
            <a:ext cx="4465637" cy="395287"/>
          </a:xfrm>
          <a:prstGeom prst="roundRect">
            <a:avLst>
              <a:gd name="adj" fmla="val 21130"/>
            </a:avLst>
          </a:prstGeom>
          <a:gradFill flip="none" rotWithShape="0">
            <a:gsLst>
              <a:gs pos="0">
                <a:schemeClr val="accent2"/>
              </a:gs>
              <a:gs pos="100000">
                <a:schemeClr val="accent2"/>
              </a:gs>
              <a:gs pos="50000">
                <a:schemeClr val="accent1"/>
              </a:gs>
            </a:gsLst>
            <a:lin ang="0" scaled="1"/>
            <a:tileRect/>
          </a:gradFill>
          <a:ln w="19050">
            <a:solidFill>
              <a:schemeClr val="bg1"/>
            </a:solidFill>
            <a:round/>
            <a:headEnd/>
            <a:tailEnd/>
          </a:ln>
        </p:spPr>
        <p:txBody>
          <a:bodyPr anchor="ctr"/>
          <a:lstStyle/>
          <a:p>
            <a:pPr eaLnBrk="0" hangingPunct="0">
              <a:lnSpc>
                <a:spcPct val="90000"/>
              </a:lnSpc>
              <a:buSzPct val="100000"/>
              <a:defRPr/>
            </a:pPr>
            <a:r>
              <a:rPr lang="da-DK" sz="1600" b="0">
                <a:solidFill>
                  <a:srgbClr val="FFFFFF"/>
                </a:solidFill>
                <a:ea typeface="Verdana" pitchFamily="34" charset="0"/>
                <a:cs typeface="Verdana" pitchFamily="34" charset="0"/>
                <a:sym typeface="Verdana" pitchFamily="34" charset="0"/>
              </a:rPr>
              <a:t>Confirmation du diagnostic</a:t>
            </a:r>
          </a:p>
        </p:txBody>
      </p:sp>
      <p:sp>
        <p:nvSpPr>
          <p:cNvPr id="4101" name="Rectangle 2"/>
          <p:cNvSpPr>
            <a:spLocks noChangeArrowheads="1"/>
          </p:cNvSpPr>
          <p:nvPr/>
        </p:nvSpPr>
        <p:spPr bwMode="auto">
          <a:xfrm>
            <a:off x="476250" y="469900"/>
            <a:ext cx="8128000" cy="801688"/>
          </a:xfrm>
          <a:prstGeom prst="rect">
            <a:avLst/>
          </a:prstGeom>
          <a:noFill/>
          <a:ln w="9525">
            <a:noFill/>
            <a:miter lim="800000"/>
            <a:headEnd/>
            <a:tailEnd/>
          </a:ln>
        </p:spPr>
        <p:txBody>
          <a:bodyPr lIns="0" tIns="0" rIns="0" bIns="0" anchor="ctr"/>
          <a:lstStyle/>
          <a:p>
            <a:pPr algn="ctr"/>
            <a:r>
              <a:rPr lang="da-DK" sz="2800">
                <a:sym typeface="Verdana" pitchFamily="34" charset="0"/>
              </a:rPr>
              <a:t>Programme</a:t>
            </a:r>
          </a:p>
        </p:txBody>
      </p:sp>
      <p:pic>
        <p:nvPicPr>
          <p:cNvPr id="4102" name="Picture 16" descr="cdic.jpg"/>
          <p:cNvPicPr>
            <a:picLocks noChangeAspect="1"/>
          </p:cNvPicPr>
          <p:nvPr/>
        </p:nvPicPr>
        <p:blipFill>
          <a:blip r:embed="rId2"/>
          <a:srcRect/>
          <a:stretch>
            <a:fillRect/>
          </a:stretch>
        </p:blipFill>
        <p:spPr bwMode="auto">
          <a:xfrm>
            <a:off x="593725" y="539750"/>
            <a:ext cx="1419225" cy="752475"/>
          </a:xfrm>
          <a:prstGeom prst="rect">
            <a:avLst/>
          </a:prstGeom>
          <a:noFill/>
          <a:ln w="9525">
            <a:noFill/>
            <a:miter lim="800000"/>
            <a:headEnd/>
            <a:tailEnd/>
          </a:ln>
        </p:spPr>
      </p:pic>
      <p:sp>
        <p:nvSpPr>
          <p:cNvPr id="4103" name="AutoShape 5"/>
          <p:cNvSpPr>
            <a:spLocks noChangeArrowheads="1"/>
          </p:cNvSpPr>
          <p:nvPr/>
        </p:nvSpPr>
        <p:spPr bwMode="auto">
          <a:xfrm>
            <a:off x="684213" y="2420938"/>
            <a:ext cx="519112" cy="395287"/>
          </a:xfrm>
          <a:prstGeom prst="roundRect">
            <a:avLst>
              <a:gd name="adj" fmla="val 23718"/>
            </a:avLst>
          </a:prstGeom>
          <a:noFill/>
          <a:ln w="19050">
            <a:noFill/>
            <a:round/>
            <a:headEnd/>
            <a:tailEnd/>
          </a:ln>
        </p:spPr>
        <p:txBody>
          <a:bodyPr anchor="ctr"/>
          <a:lstStyle/>
          <a:p>
            <a:pPr eaLnBrk="0" hangingPunct="0">
              <a:lnSpc>
                <a:spcPct val="90000"/>
              </a:lnSpc>
              <a:buSzPct val="100000"/>
            </a:pPr>
            <a:r>
              <a:rPr lang="da-DK" sz="2000">
                <a:solidFill>
                  <a:srgbClr val="009FDA"/>
                </a:solidFill>
                <a:sym typeface="Verdana" pitchFamily="34" charset="0"/>
              </a:rPr>
              <a:t>2</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Poser un diagnostic</a:t>
            </a:r>
          </a:p>
        </p:txBody>
      </p:sp>
      <p:sp>
        <p:nvSpPr>
          <p:cNvPr id="22531" name="Content Placeholder 2"/>
          <p:cNvSpPr>
            <a:spLocks noGrp="1"/>
          </p:cNvSpPr>
          <p:nvPr>
            <p:ph idx="4294967295"/>
          </p:nvPr>
        </p:nvSpPr>
        <p:spPr/>
        <p:txBody>
          <a:bodyPr/>
          <a:lstStyle/>
          <a:p>
            <a:pPr eaLnBrk="1" hangingPunct="1">
              <a:spcAft>
                <a:spcPct val="10000"/>
              </a:spcAft>
              <a:buClr>
                <a:srgbClr val="009FDA"/>
              </a:buClr>
            </a:pPr>
            <a:r>
              <a:rPr lang="da-DK" smtClean="0">
                <a:solidFill>
                  <a:srgbClr val="001965"/>
                </a:solidFill>
                <a:sym typeface="Verdana" pitchFamily="34" charset="0"/>
              </a:rPr>
              <a:t>S'il n'est pas possible de tester la glycémie</a:t>
            </a:r>
          </a:p>
          <a:p>
            <a:pPr eaLnBrk="1" hangingPunct="1">
              <a:spcAft>
                <a:spcPct val="10000"/>
              </a:spcAft>
              <a:buClr>
                <a:srgbClr val="009FDA"/>
              </a:buClr>
            </a:pPr>
            <a:r>
              <a:rPr lang="da-DK" smtClean="0">
                <a:solidFill>
                  <a:srgbClr val="001965"/>
                </a:solidFill>
                <a:sym typeface="Verdana" pitchFamily="34" charset="0"/>
              </a:rPr>
              <a:t>Bandelette urinaire :</a:t>
            </a:r>
          </a:p>
          <a:p>
            <a:pPr lvl="1" eaLnBrk="1" hangingPunct="1">
              <a:spcAft>
                <a:spcPct val="10000"/>
              </a:spcAft>
              <a:buClr>
                <a:srgbClr val="FF0505"/>
              </a:buClr>
            </a:pPr>
            <a:r>
              <a:rPr lang="da-DK" smtClean="0">
                <a:solidFill>
                  <a:srgbClr val="001965"/>
                </a:solidFill>
                <a:sym typeface="Verdana" pitchFamily="34" charset="0"/>
              </a:rPr>
              <a:t>Glucose</a:t>
            </a:r>
          </a:p>
          <a:p>
            <a:pPr lvl="1" eaLnBrk="1" hangingPunct="1">
              <a:spcAft>
                <a:spcPct val="10000"/>
              </a:spcAft>
              <a:buClr>
                <a:srgbClr val="FF0505"/>
              </a:buClr>
            </a:pPr>
            <a:r>
              <a:rPr lang="da-DK" smtClean="0">
                <a:solidFill>
                  <a:srgbClr val="001965"/>
                </a:solidFill>
                <a:sym typeface="Verdana" pitchFamily="34" charset="0"/>
              </a:rPr>
              <a:t>Corps cétoniques</a:t>
            </a:r>
          </a:p>
          <a:p>
            <a:pPr eaLnBrk="1" hangingPunct="1">
              <a:spcAft>
                <a:spcPct val="10000"/>
              </a:spcAft>
              <a:buClr>
                <a:srgbClr val="009FDA"/>
              </a:buClr>
            </a:pPr>
            <a:r>
              <a:rPr lang="da-DK" smtClean="0">
                <a:solidFill>
                  <a:srgbClr val="001965"/>
                </a:solidFill>
                <a:sym typeface="Verdana" pitchFamily="34" charset="0"/>
              </a:rPr>
              <a:t>En présence de corps cétoniques dans l'urine ou dans le sang, l'enfant doit être traité en urgence </a:t>
            </a:r>
            <a:r>
              <a:rPr lang="da-DK" b="1" smtClean="0">
                <a:solidFill>
                  <a:srgbClr val="001965"/>
                </a:solidFill>
                <a:sym typeface="Verdana" pitchFamily="34" charset="0"/>
              </a:rPr>
              <a:t>le jour même</a:t>
            </a:r>
            <a:r>
              <a:rPr lang="da-DK" smtClean="0">
                <a:solidFill>
                  <a:srgbClr val="001965"/>
                </a:solidFill>
                <a:sym typeface="Verdana" pitchFamily="34" charset="0"/>
              </a:rPr>
              <a:t> afin d'éviter l'apparition d'une acidocétose (ACD)</a:t>
            </a:r>
          </a:p>
        </p:txBody>
      </p:sp>
      <p:sp>
        <p:nvSpPr>
          <p:cNvPr id="21509"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694E61C0-FC96-4635-A9E4-0706827012B8}" type="slidenum">
              <a:rPr lang="da-DK" smtClean="0">
                <a:solidFill>
                  <a:srgbClr val="009FDA"/>
                </a:solidFill>
                <a:sym typeface="Verdana" pitchFamily="34" charset="0"/>
              </a:rPr>
              <a:pPr eaLnBrk="0" hangingPunct="0">
                <a:buSzPct val="100000"/>
                <a:defRPr/>
              </a:pPr>
              <a:t>20</a:t>
            </a:fld>
            <a:endParaRPr lang="da-DK" smtClean="0">
              <a:solidFill>
                <a:srgbClr val="009FDA"/>
              </a:solidFill>
              <a:sym typeface="Verdana" pitchFamily="34" charset="0"/>
            </a:endParaRPr>
          </a:p>
        </p:txBody>
      </p:sp>
      <p:pic>
        <p:nvPicPr>
          <p:cNvPr id="22533"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Glucomètres</a:t>
            </a:r>
          </a:p>
        </p:txBody>
      </p:sp>
      <p:sp>
        <p:nvSpPr>
          <p:cNvPr id="23555" name="Content Placeholder 2"/>
          <p:cNvSpPr>
            <a:spLocks noGrp="1"/>
          </p:cNvSpPr>
          <p:nvPr>
            <p:ph idx="4294967295"/>
          </p:nvPr>
        </p:nvSpPr>
        <p:spPr/>
        <p:txBody>
          <a:bodyPr/>
          <a:lstStyle/>
          <a:p>
            <a:pPr eaLnBrk="1" hangingPunct="1">
              <a:spcAft>
                <a:spcPct val="10000"/>
              </a:spcAft>
              <a:buClr>
                <a:srgbClr val="009FDA"/>
              </a:buClr>
            </a:pPr>
            <a:r>
              <a:rPr lang="da-DK" smtClean="0">
                <a:solidFill>
                  <a:srgbClr val="001965"/>
                </a:solidFill>
                <a:sym typeface="Verdana" pitchFamily="34" charset="0"/>
              </a:rPr>
              <a:t>Appareil portatif qui mesure le taux de glucose sanguin</a:t>
            </a:r>
          </a:p>
          <a:p>
            <a:pPr eaLnBrk="1" hangingPunct="1">
              <a:spcAft>
                <a:spcPct val="10000"/>
              </a:spcAft>
              <a:buClr>
                <a:srgbClr val="009FDA"/>
              </a:buClr>
            </a:pPr>
            <a:r>
              <a:rPr lang="da-DK" smtClean="0">
                <a:solidFill>
                  <a:srgbClr val="001965"/>
                </a:solidFill>
                <a:sym typeface="Verdana" pitchFamily="34" charset="0"/>
              </a:rPr>
              <a:t>Une goutte de sang est déposée sur une bandelette en plastique</a:t>
            </a:r>
          </a:p>
          <a:p>
            <a:pPr eaLnBrk="1" hangingPunct="1">
              <a:spcAft>
                <a:spcPct val="10000"/>
              </a:spcAft>
              <a:buClr>
                <a:srgbClr val="009FDA"/>
              </a:buClr>
            </a:pPr>
            <a:r>
              <a:rPr lang="da-DK" smtClean="0">
                <a:solidFill>
                  <a:srgbClr val="001965"/>
                </a:solidFill>
                <a:sym typeface="Verdana" pitchFamily="34" charset="0"/>
              </a:rPr>
              <a:t>Le résultat apparaît après 5 à 10 secondes</a:t>
            </a:r>
          </a:p>
          <a:p>
            <a:pPr eaLnBrk="1" hangingPunct="1">
              <a:spcAft>
                <a:spcPct val="10000"/>
              </a:spcAft>
              <a:buClr>
                <a:srgbClr val="009FDA"/>
              </a:buClr>
            </a:pPr>
            <a:r>
              <a:rPr lang="da-DK" smtClean="0">
                <a:solidFill>
                  <a:srgbClr val="001965"/>
                </a:solidFill>
                <a:sym typeface="Verdana" pitchFamily="34" charset="0"/>
              </a:rPr>
              <a:t>Précis</a:t>
            </a:r>
          </a:p>
          <a:p>
            <a:pPr eaLnBrk="1" hangingPunct="1">
              <a:spcAft>
                <a:spcPct val="10000"/>
              </a:spcAft>
              <a:buClr>
                <a:srgbClr val="009FDA"/>
              </a:buClr>
            </a:pPr>
            <a:r>
              <a:rPr lang="da-DK" smtClean="0">
                <a:solidFill>
                  <a:srgbClr val="001965"/>
                </a:solidFill>
                <a:sym typeface="Verdana" pitchFamily="34" charset="0"/>
              </a:rPr>
              <a:t>Les glucomètres nécessitent un codage et les bandelettes peuvent se périmer</a:t>
            </a:r>
          </a:p>
          <a:p>
            <a:pPr eaLnBrk="1" hangingPunct="1">
              <a:spcAft>
                <a:spcPct val="10000"/>
              </a:spcAft>
              <a:buClr>
                <a:srgbClr val="009FDA"/>
              </a:buClr>
            </a:pPr>
            <a:r>
              <a:rPr lang="da-DK" smtClean="0">
                <a:solidFill>
                  <a:srgbClr val="001965"/>
                </a:solidFill>
                <a:sym typeface="Verdana" pitchFamily="34" charset="0"/>
              </a:rPr>
              <a:t>Soyez attentif à la différence entre les mesures du glucomètre et la glycémie mesurée en laboratoire</a:t>
            </a:r>
          </a:p>
        </p:txBody>
      </p:sp>
      <p:sp>
        <p:nvSpPr>
          <p:cNvPr id="22533"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4201904C-60D2-4990-9E13-6A9BDEFC1B7D}" type="slidenum">
              <a:rPr lang="da-DK" smtClean="0">
                <a:solidFill>
                  <a:srgbClr val="009FDA"/>
                </a:solidFill>
                <a:sym typeface="Verdana" pitchFamily="34" charset="0"/>
              </a:rPr>
              <a:pPr eaLnBrk="0" hangingPunct="0">
                <a:buSzPct val="100000"/>
                <a:defRPr/>
              </a:pPr>
              <a:t>21</a:t>
            </a:fld>
            <a:endParaRPr lang="da-DK" smtClean="0">
              <a:solidFill>
                <a:srgbClr val="009FDA"/>
              </a:solidFill>
              <a:sym typeface="Verdana" pitchFamily="34" charset="0"/>
            </a:endParaRPr>
          </a:p>
        </p:txBody>
      </p:sp>
      <p:pic>
        <p:nvPicPr>
          <p:cNvPr id="23557"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Précautions</a:t>
            </a:r>
          </a:p>
        </p:txBody>
      </p:sp>
      <p:sp>
        <p:nvSpPr>
          <p:cNvPr id="24579" name="Content Placeholder 2"/>
          <p:cNvSpPr>
            <a:spLocks noGrp="1"/>
          </p:cNvSpPr>
          <p:nvPr>
            <p:ph idx="4294967295"/>
          </p:nvPr>
        </p:nvSpPr>
        <p:spPr/>
        <p:txBody>
          <a:bodyPr/>
          <a:lstStyle/>
          <a:p>
            <a:pPr eaLnBrk="1" hangingPunct="1">
              <a:spcAft>
                <a:spcPct val="10000"/>
              </a:spcAft>
              <a:buClr>
                <a:srgbClr val="009FDA"/>
              </a:buClr>
            </a:pPr>
            <a:r>
              <a:rPr lang="da-DK" smtClean="0">
                <a:solidFill>
                  <a:srgbClr val="001965"/>
                </a:solidFill>
                <a:sym typeface="Verdana" pitchFamily="34" charset="0"/>
              </a:rPr>
              <a:t>Bandelettes - la marque, le code et la date de péremption</a:t>
            </a:r>
          </a:p>
          <a:p>
            <a:pPr eaLnBrk="1" hangingPunct="1">
              <a:spcAft>
                <a:spcPct val="10000"/>
              </a:spcAft>
              <a:buClr>
                <a:srgbClr val="009FDA"/>
              </a:buClr>
            </a:pPr>
            <a:r>
              <a:rPr lang="da-DK" smtClean="0">
                <a:solidFill>
                  <a:srgbClr val="001965"/>
                </a:solidFill>
                <a:sym typeface="Verdana" pitchFamily="34" charset="0"/>
              </a:rPr>
              <a:t>Confirmation des unités de mesure (mmol/l, mg/dl)</a:t>
            </a:r>
          </a:p>
          <a:p>
            <a:pPr eaLnBrk="1" hangingPunct="1">
              <a:spcAft>
                <a:spcPct val="10000"/>
              </a:spcAft>
              <a:buClr>
                <a:srgbClr val="009FDA"/>
              </a:buClr>
            </a:pPr>
            <a:r>
              <a:rPr lang="da-DK" smtClean="0">
                <a:solidFill>
                  <a:srgbClr val="001965"/>
                </a:solidFill>
                <a:sym typeface="Verdana" pitchFamily="34" charset="0"/>
              </a:rPr>
              <a:t>Les mains doivent être lavées (les vôtres comme celles de vos patients)</a:t>
            </a:r>
          </a:p>
          <a:p>
            <a:pPr eaLnBrk="1" hangingPunct="1">
              <a:spcAft>
                <a:spcPct val="10000"/>
              </a:spcAft>
              <a:buClr>
                <a:srgbClr val="009FDA"/>
              </a:buClr>
            </a:pPr>
            <a:r>
              <a:rPr lang="da-DK" smtClean="0">
                <a:solidFill>
                  <a:srgbClr val="001965"/>
                </a:solidFill>
                <a:sym typeface="Verdana" pitchFamily="34" charset="0"/>
              </a:rPr>
              <a:t>Technique</a:t>
            </a:r>
          </a:p>
          <a:p>
            <a:pPr eaLnBrk="1" hangingPunct="1">
              <a:spcAft>
                <a:spcPct val="10000"/>
              </a:spcAft>
              <a:buClr>
                <a:srgbClr val="009FDA"/>
              </a:buClr>
            </a:pPr>
            <a:r>
              <a:rPr lang="da-DK" smtClean="0">
                <a:solidFill>
                  <a:srgbClr val="001965"/>
                </a:solidFill>
                <a:sym typeface="Verdana" pitchFamily="34" charset="0"/>
              </a:rPr>
              <a:t>Jetez les bandelettes après usage</a:t>
            </a:r>
          </a:p>
          <a:p>
            <a:pPr eaLnBrk="1" hangingPunct="1">
              <a:spcAft>
                <a:spcPct val="10000"/>
              </a:spcAft>
              <a:buClr>
                <a:srgbClr val="009FDA"/>
              </a:buClr>
            </a:pPr>
            <a:r>
              <a:rPr lang="da-DK" smtClean="0">
                <a:solidFill>
                  <a:srgbClr val="001965"/>
                </a:solidFill>
                <a:sym typeface="Verdana" pitchFamily="34" charset="0"/>
              </a:rPr>
              <a:t>Ne partagez pas et ne réutilisez pas les lancettes</a:t>
            </a:r>
          </a:p>
          <a:p>
            <a:pPr eaLnBrk="1" hangingPunct="1">
              <a:spcAft>
                <a:spcPct val="10000"/>
              </a:spcAft>
              <a:buClr>
                <a:srgbClr val="009FDA"/>
              </a:buClr>
            </a:pPr>
            <a:r>
              <a:rPr lang="da-DK" smtClean="0">
                <a:solidFill>
                  <a:srgbClr val="001965"/>
                </a:solidFill>
                <a:sym typeface="Verdana" pitchFamily="34" charset="0"/>
              </a:rPr>
              <a:t>Jetez les lancettes selon les précautions d'usage</a:t>
            </a:r>
          </a:p>
        </p:txBody>
      </p:sp>
      <p:sp>
        <p:nvSpPr>
          <p:cNvPr id="23557"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84479F61-2250-4FA4-AE57-86DCD7C29CBE}" type="slidenum">
              <a:rPr lang="da-DK" smtClean="0">
                <a:solidFill>
                  <a:srgbClr val="009FDA"/>
                </a:solidFill>
                <a:sym typeface="Verdana" pitchFamily="34" charset="0"/>
              </a:rPr>
              <a:pPr eaLnBrk="0" hangingPunct="0">
                <a:buSzPct val="100000"/>
                <a:defRPr/>
              </a:pPr>
              <a:t>22</a:t>
            </a:fld>
            <a:endParaRPr lang="da-DK" smtClean="0">
              <a:solidFill>
                <a:srgbClr val="009FDA"/>
              </a:solidFill>
              <a:sym typeface="Verdana" pitchFamily="34" charset="0"/>
            </a:endParaRPr>
          </a:p>
        </p:txBody>
      </p:sp>
      <p:pic>
        <p:nvPicPr>
          <p:cNvPr id="24581"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idx="4294967295"/>
          </p:nvPr>
        </p:nvSpPr>
        <p:spPr>
          <a:xfrm>
            <a:off x="565150" y="469900"/>
            <a:ext cx="8099425" cy="801688"/>
          </a:xfrm>
        </p:spPr>
        <p:txBody>
          <a:bodyPr/>
          <a:lstStyle/>
          <a:p>
            <a:pPr eaLnBrk="1" hangingPunct="1"/>
            <a:r>
              <a:rPr lang="da-DK" sz="2400" smtClean="0">
                <a:sym typeface="Verdana" pitchFamily="34" charset="0"/>
              </a:rPr>
              <a:t>Entracte</a:t>
            </a:r>
          </a:p>
        </p:txBody>
      </p:sp>
      <p:sp>
        <p:nvSpPr>
          <p:cNvPr id="25603" name="Content Placeholder 2"/>
          <p:cNvSpPr>
            <a:spLocks noGrp="1"/>
          </p:cNvSpPr>
          <p:nvPr>
            <p:ph idx="4294967295"/>
          </p:nvPr>
        </p:nvSpPr>
        <p:spPr>
          <a:xfrm>
            <a:off x="611188" y="1633538"/>
            <a:ext cx="8186737" cy="1271587"/>
          </a:xfrm>
        </p:spPr>
        <p:txBody>
          <a:bodyPr anchor="ctr">
            <a:spAutoFit/>
          </a:bodyPr>
          <a:lstStyle/>
          <a:p>
            <a:pPr eaLnBrk="1" hangingPunct="1">
              <a:spcAft>
                <a:spcPct val="20000"/>
              </a:spcAft>
              <a:buClr>
                <a:srgbClr val="009FDA"/>
              </a:buClr>
            </a:pPr>
            <a:r>
              <a:rPr lang="da-DK" smtClean="0">
                <a:solidFill>
                  <a:srgbClr val="001965"/>
                </a:solidFill>
                <a:sym typeface="Verdana" pitchFamily="34" charset="0"/>
              </a:rPr>
              <a:t>Utilisation des glucomètres</a:t>
            </a:r>
          </a:p>
          <a:p>
            <a:pPr eaLnBrk="1" hangingPunct="1">
              <a:spcAft>
                <a:spcPct val="20000"/>
              </a:spcAft>
              <a:buClr>
                <a:srgbClr val="009FDA"/>
              </a:buClr>
            </a:pPr>
            <a:r>
              <a:rPr lang="da-DK" smtClean="0">
                <a:solidFill>
                  <a:srgbClr val="001965"/>
                </a:solidFill>
                <a:sym typeface="Verdana" pitchFamily="34" charset="0"/>
              </a:rPr>
              <a:t>Utilisation des bandelettes urinaires</a:t>
            </a:r>
          </a:p>
        </p:txBody>
      </p:sp>
      <p:sp>
        <p:nvSpPr>
          <p:cNvPr id="24581"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55E352BB-9505-446A-A715-13A2B0325BD2}" type="slidenum">
              <a:rPr lang="da-DK" smtClean="0">
                <a:solidFill>
                  <a:srgbClr val="009FDA"/>
                </a:solidFill>
                <a:sym typeface="Verdana" pitchFamily="34" charset="0"/>
              </a:rPr>
              <a:pPr eaLnBrk="0" hangingPunct="0">
                <a:buSzPct val="100000"/>
                <a:defRPr/>
              </a:pPr>
              <a:t>23</a:t>
            </a:fld>
            <a:endParaRPr lang="da-DK" smtClean="0">
              <a:solidFill>
                <a:srgbClr val="009FDA"/>
              </a:solidFill>
              <a:sym typeface="Verdana" pitchFamily="34" charset="0"/>
            </a:endParaRPr>
          </a:p>
        </p:txBody>
      </p:sp>
      <p:pic>
        <p:nvPicPr>
          <p:cNvPr id="25605"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idx="4294967295"/>
          </p:nvPr>
        </p:nvSpPr>
        <p:spPr/>
        <p:txBody>
          <a:bodyPr/>
          <a:lstStyle/>
          <a:p>
            <a:pPr eaLnBrk="1" hangingPunct="1"/>
            <a:r>
              <a:rPr lang="da-DK" smtClean="0">
                <a:sym typeface="Verdana" pitchFamily="34" charset="0"/>
              </a:rPr>
              <a:t>Questions</a:t>
            </a:r>
          </a:p>
        </p:txBody>
      </p:sp>
      <p:pic>
        <p:nvPicPr>
          <p:cNvPr id="26627" name="Picture 3" descr="questionmark.jpg"/>
          <p:cNvPicPr>
            <a:picLocks noChangeAspect="1"/>
          </p:cNvPicPr>
          <p:nvPr/>
        </p:nvPicPr>
        <p:blipFill>
          <a:blip r:embed="rId3"/>
          <a:srcRect/>
          <a:stretch>
            <a:fillRect/>
          </a:stretch>
        </p:blipFill>
        <p:spPr bwMode="auto">
          <a:xfrm>
            <a:off x="2667000" y="1524000"/>
            <a:ext cx="3810000" cy="3810000"/>
          </a:xfrm>
          <a:prstGeom prst="rect">
            <a:avLst/>
          </a:prstGeom>
          <a:noFill/>
          <a:ln w="9525">
            <a:noFill/>
            <a:miter lim="800000"/>
            <a:headEnd/>
            <a:tailEnd/>
          </a:ln>
        </p:spPr>
      </p:pic>
      <p:pic>
        <p:nvPicPr>
          <p:cNvPr id="26628" name="Picture 4" descr="cdic.jpg"/>
          <p:cNvPicPr>
            <a:picLocks noChangeAspect="1"/>
          </p:cNvPicPr>
          <p:nvPr/>
        </p:nvPicPr>
        <p:blipFill>
          <a:blip r:embed="rId4"/>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ChangeArrowheads="1"/>
          </p:cNvSpPr>
          <p:nvPr/>
        </p:nvSpPr>
        <p:spPr bwMode="auto">
          <a:xfrm>
            <a:off x="0" y="1517650"/>
            <a:ext cx="9144000" cy="3168650"/>
          </a:xfrm>
          <a:prstGeom prst="rect">
            <a:avLst/>
          </a:prstGeom>
          <a:solidFill>
            <a:schemeClr val="accent2"/>
          </a:solidFill>
          <a:ln w="9525">
            <a:noFill/>
            <a:miter lim="800000"/>
            <a:headEnd/>
            <a:tailEnd/>
          </a:ln>
        </p:spPr>
        <p:txBody>
          <a:bodyPr wrap="none" lIns="0" tIns="0" rIns="0" bIns="0" anchor="ctr"/>
          <a:lstStyle/>
          <a:p>
            <a:endParaRPr lang="en-GB">
              <a:solidFill>
                <a:schemeClr val="accent1"/>
              </a:solidFill>
              <a:ea typeface="ＭＳ Ｐゴシック" pitchFamily="34" charset="-128"/>
            </a:endParaRPr>
          </a:p>
        </p:txBody>
      </p:sp>
      <p:sp>
        <p:nvSpPr>
          <p:cNvPr id="670723" name="Rectangle 3"/>
          <p:cNvSpPr>
            <a:spLocks noChangeArrowheads="1"/>
          </p:cNvSpPr>
          <p:nvPr/>
        </p:nvSpPr>
        <p:spPr bwMode="auto">
          <a:xfrm rot="1356673">
            <a:off x="536575" y="1624013"/>
            <a:ext cx="3514725" cy="3516312"/>
          </a:xfrm>
          <a:prstGeom prst="rect">
            <a:avLst/>
          </a:prstGeom>
          <a:gradFill rotWithShape="1">
            <a:gsLst>
              <a:gs pos="0">
                <a:schemeClr val="accent2"/>
              </a:gs>
              <a:gs pos="50000">
                <a:schemeClr val="accent1"/>
              </a:gs>
              <a:gs pos="100000">
                <a:schemeClr val="accent2"/>
              </a:gs>
            </a:gsLst>
            <a:lin ang="0" scaled="1"/>
          </a:gradFill>
          <a:ln w="9525">
            <a:noFill/>
            <a:miter lim="800000"/>
            <a:headEnd/>
            <a:tailEnd/>
          </a:ln>
        </p:spPr>
        <p:txBody>
          <a:bodyPr wrap="none" anchor="ctr"/>
          <a:lstStyle/>
          <a:p>
            <a:pPr>
              <a:defRPr/>
            </a:pPr>
            <a:endParaRPr lang="en-US">
              <a:ea typeface="ＭＳ Ｐゴシック" pitchFamily="34" charset="-128"/>
              <a:cs typeface="+mn-cs"/>
            </a:endParaRPr>
          </a:p>
        </p:txBody>
      </p:sp>
      <p:sp>
        <p:nvSpPr>
          <p:cNvPr id="27652" name="Rectangle 4"/>
          <p:cNvSpPr>
            <a:spLocks noChangeArrowheads="1"/>
          </p:cNvSpPr>
          <p:nvPr/>
        </p:nvSpPr>
        <p:spPr bwMode="auto">
          <a:xfrm>
            <a:off x="0" y="476250"/>
            <a:ext cx="9144000" cy="5257800"/>
          </a:xfrm>
          <a:prstGeom prst="rect">
            <a:avLst/>
          </a:prstGeom>
          <a:noFill/>
          <a:ln w="9525">
            <a:noFill/>
            <a:miter lim="800000"/>
            <a:headEnd/>
            <a:tailEnd/>
          </a:ln>
        </p:spPr>
        <p:txBody>
          <a:bodyPr wrap="none" lIns="0" tIns="0" rIns="0" bIns="0" anchor="ctr"/>
          <a:lstStyle/>
          <a:p>
            <a:endParaRPr lang="en-US">
              <a:ea typeface="ＭＳ Ｐゴシック" pitchFamily="34" charset="-128"/>
            </a:endParaRPr>
          </a:p>
        </p:txBody>
      </p:sp>
      <p:sp>
        <p:nvSpPr>
          <p:cNvPr id="27653" name="Rectangle 8"/>
          <p:cNvSpPr>
            <a:spLocks noChangeArrowheads="1"/>
          </p:cNvSpPr>
          <p:nvPr/>
        </p:nvSpPr>
        <p:spPr bwMode="auto">
          <a:xfrm>
            <a:off x="0" y="0"/>
            <a:ext cx="9144000" cy="2351088"/>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sp>
        <p:nvSpPr>
          <p:cNvPr id="27654" name="Rectangle 20"/>
          <p:cNvSpPr>
            <a:spLocks noChangeArrowheads="1"/>
          </p:cNvSpPr>
          <p:nvPr/>
        </p:nvSpPr>
        <p:spPr bwMode="auto">
          <a:xfrm>
            <a:off x="0" y="0"/>
            <a:ext cx="9140825" cy="6856413"/>
          </a:xfrm>
          <a:prstGeom prst="rect">
            <a:avLst/>
          </a:prstGeom>
          <a:noFill/>
          <a:ln w="3175">
            <a:noFill/>
            <a:miter lim="800000"/>
            <a:headEnd/>
            <a:tailEnd/>
          </a:ln>
        </p:spPr>
        <p:txBody>
          <a:bodyPr wrap="none" lIns="72000" tIns="72000" rIns="72000" bIns="72000" anchor="ctr"/>
          <a:lstStyle/>
          <a:p>
            <a:endParaRPr lang="en-US">
              <a:ea typeface="ＭＳ Ｐゴシック" pitchFamily="34" charset="-128"/>
            </a:endParaRPr>
          </a:p>
        </p:txBody>
      </p:sp>
      <p:grpSp>
        <p:nvGrpSpPr>
          <p:cNvPr id="27655" name="Group 31"/>
          <p:cNvGrpSpPr>
            <a:grpSpLocks/>
          </p:cNvGrpSpPr>
          <p:nvPr/>
        </p:nvGrpSpPr>
        <p:grpSpPr bwMode="auto">
          <a:xfrm>
            <a:off x="0" y="0"/>
            <a:ext cx="9144000" cy="6440488"/>
            <a:chOff x="0" y="0"/>
            <a:chExt cx="5760" cy="4057"/>
          </a:xfrm>
        </p:grpSpPr>
        <p:sp>
          <p:nvSpPr>
            <p:cNvPr id="27658" name="Rectangle 11"/>
            <p:cNvSpPr>
              <a:spLocks noChangeArrowheads="1"/>
            </p:cNvSpPr>
            <p:nvPr/>
          </p:nvSpPr>
          <p:spPr bwMode="auto">
            <a:xfrm>
              <a:off x="5577" y="0"/>
              <a:ext cx="183" cy="3014"/>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sp>
          <p:nvSpPr>
            <p:cNvPr id="27659" name="Rectangle 9"/>
            <p:cNvSpPr>
              <a:spLocks noChangeArrowheads="1"/>
            </p:cNvSpPr>
            <p:nvPr/>
          </p:nvSpPr>
          <p:spPr bwMode="auto">
            <a:xfrm>
              <a:off x="0" y="2729"/>
              <a:ext cx="5760" cy="910"/>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grpSp>
          <p:nvGrpSpPr>
            <p:cNvPr id="27660" name="Group 34"/>
            <p:cNvGrpSpPr>
              <a:grpSpLocks/>
            </p:cNvGrpSpPr>
            <p:nvPr/>
          </p:nvGrpSpPr>
          <p:grpSpPr bwMode="auto">
            <a:xfrm>
              <a:off x="0" y="622"/>
              <a:ext cx="5760" cy="3435"/>
              <a:chOff x="0" y="622"/>
              <a:chExt cx="5760" cy="3435"/>
            </a:xfrm>
          </p:grpSpPr>
          <p:sp>
            <p:nvSpPr>
              <p:cNvPr id="27661" name="Rectangle 10"/>
              <p:cNvSpPr>
                <a:spLocks noChangeArrowheads="1"/>
              </p:cNvSpPr>
              <p:nvPr/>
            </p:nvSpPr>
            <p:spPr bwMode="auto">
              <a:xfrm>
                <a:off x="0" y="1388"/>
                <a:ext cx="219" cy="1554"/>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sp>
            <p:nvSpPr>
              <p:cNvPr id="27662" name="Rectangle 36"/>
              <p:cNvSpPr>
                <a:spLocks noChangeArrowheads="1"/>
              </p:cNvSpPr>
              <p:nvPr/>
            </p:nvSpPr>
            <p:spPr bwMode="auto">
              <a:xfrm rot="5400000">
                <a:off x="3968" y="2266"/>
                <a:ext cx="3435" cy="148"/>
              </a:xfrm>
              <a:prstGeom prst="rect">
                <a:avLst/>
              </a:prstGeom>
              <a:noFill/>
              <a:ln w="3175" algn="ctr">
                <a:noFill/>
                <a:miter lim="800000"/>
                <a:headEnd/>
                <a:tailEnd/>
              </a:ln>
            </p:spPr>
            <p:txBody>
              <a:bodyPr lIns="72000" tIns="72000" rIns="72000" bIns="72000">
                <a:spAutoFit/>
              </a:bodyPr>
              <a:lstStyle/>
              <a:p>
                <a:pPr algn="r" eaLnBrk="0" hangingPunct="0">
                  <a:buSzPct val="100000"/>
                </a:pPr>
                <a:r>
                  <a:rPr lang="da-DK" sz="600" b="0">
                    <a:solidFill>
                      <a:srgbClr val="82786F"/>
                    </a:solidFill>
                    <a:sym typeface="Verdana" pitchFamily="34" charset="0"/>
                  </a:rPr>
                  <a:t>Changing Diabetes® et le logo Apis bull sont des marques déposées de Novo Nordisk A/S</a:t>
                </a:r>
              </a:p>
            </p:txBody>
          </p:sp>
          <p:pic>
            <p:nvPicPr>
              <p:cNvPr id="27663" name="Picture 37" descr="CD_knockedThrough"/>
              <p:cNvPicPr>
                <a:picLocks noChangeAspect="1" noChangeArrowheads="1"/>
              </p:cNvPicPr>
              <p:nvPr/>
            </p:nvPicPr>
            <p:blipFill>
              <a:blip r:embed="rId3"/>
              <a:srcRect l="4956" t="20717" r="4709" b="16928"/>
              <a:stretch>
                <a:fillRect/>
              </a:stretch>
            </p:blipFill>
            <p:spPr bwMode="auto">
              <a:xfrm>
                <a:off x="166" y="1386"/>
                <a:ext cx="5487" cy="1547"/>
              </a:xfrm>
              <a:prstGeom prst="rect">
                <a:avLst/>
              </a:prstGeom>
              <a:noFill/>
              <a:ln w="9525">
                <a:noFill/>
                <a:miter lim="800000"/>
                <a:headEnd/>
                <a:tailEnd/>
              </a:ln>
            </p:spPr>
          </p:pic>
        </p:grpSp>
      </p:grpSp>
      <p:pic>
        <p:nvPicPr>
          <p:cNvPr id="27656" name="Picture 15" descr="CD_Stacked_BIG®_RGB"/>
          <p:cNvPicPr>
            <a:picLocks noChangeAspect="1" noChangeArrowheads="1"/>
          </p:cNvPicPr>
          <p:nvPr/>
        </p:nvPicPr>
        <p:blipFill>
          <a:blip r:embed="rId4"/>
          <a:srcRect/>
          <a:stretch>
            <a:fillRect/>
          </a:stretch>
        </p:blipFill>
        <p:spPr bwMode="auto">
          <a:xfrm>
            <a:off x="468313" y="6145213"/>
            <a:ext cx="608012" cy="236537"/>
          </a:xfrm>
          <a:prstGeom prst="rect">
            <a:avLst/>
          </a:prstGeom>
          <a:noFill/>
          <a:ln w="9525">
            <a:noFill/>
            <a:miter lim="800000"/>
            <a:headEnd/>
            <a:tailEnd/>
          </a:ln>
        </p:spPr>
      </p:pic>
      <p:pic>
        <p:nvPicPr>
          <p:cNvPr id="27657" name="Picture 16" descr="cdic.jpg"/>
          <p:cNvPicPr>
            <a:picLocks noChangeAspect="1"/>
          </p:cNvPicPr>
          <p:nvPr/>
        </p:nvPicPr>
        <p:blipFill>
          <a:blip r:embed="rId5"/>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accel="50000" decel="50000" autoRev="1" fill="hold" grpId="0" nodeType="withEffect">
                                  <p:stCondLst>
                                    <p:cond delay="0"/>
                                  </p:stCondLst>
                                  <p:childTnLst>
                                    <p:animMotion origin="layout" path="M -4.16667E-6 -4.81481E-6 L 0.46094 -4.81481E-6 " pathEditMode="relative" rAng="0" ptsTypes="AA">
                                      <p:cBhvr>
                                        <p:cTn id="6" dur="5000" fill="hold"/>
                                        <p:tgtEl>
                                          <p:spTgt spid="670723"/>
                                        </p:tgtEl>
                                        <p:attrNameLst>
                                          <p:attrName>ppt_x</p:attrName>
                                          <p:attrName>ppt_y</p:attrName>
                                        </p:attrNameLst>
                                      </p:cBhvr>
                                      <p:rCtr x="2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072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4"/>
          <p:cNvSpPr txBox="1">
            <a:spLocks noGrp="1" noChangeArrowheads="1"/>
          </p:cNvSpPr>
          <p:nvPr/>
        </p:nvSpPr>
        <p:spPr bwMode="auto">
          <a:xfrm>
            <a:off x="395288" y="0"/>
            <a:ext cx="6519862" cy="620713"/>
          </a:xfrm>
          <a:prstGeom prst="rect">
            <a:avLst/>
          </a:prstGeom>
          <a:noFill/>
          <a:ln w="9525">
            <a:noFill/>
            <a:miter lim="800000"/>
            <a:headEnd/>
            <a:tailEnd/>
          </a:ln>
        </p:spPr>
        <p:txBody>
          <a:bodyPr lIns="0" tIns="0" rIns="0" bIns="0" anchor="b"/>
          <a:lstStyle/>
          <a:p>
            <a:pPr algn="r" eaLnBrk="0" hangingPunct="0">
              <a:buSzPct val="100000"/>
            </a:pPr>
            <a:r>
              <a:rPr lang="da-DK" sz="800" b="0">
                <a:solidFill>
                  <a:srgbClr val="FFFFFF"/>
                </a:solidFill>
                <a:sym typeface="Verdana" pitchFamily="34" charset="0"/>
              </a:rPr>
              <a:t>Presentation title</a:t>
            </a:r>
          </a:p>
        </p:txBody>
      </p:sp>
      <p:sp>
        <p:nvSpPr>
          <p:cNvPr id="5123" name="Rectangle 2"/>
          <p:cNvSpPr>
            <a:spLocks noGrp="1" noChangeArrowheads="1"/>
          </p:cNvSpPr>
          <p:nvPr>
            <p:ph type="ctrTitle" idx="4294967295"/>
          </p:nvPr>
        </p:nvSpPr>
        <p:spPr>
          <a:xfrm>
            <a:off x="468313" y="1773238"/>
            <a:ext cx="3163887" cy="434975"/>
          </a:xfrm>
        </p:spPr>
        <p:txBody>
          <a:bodyPr anchor="b"/>
          <a:lstStyle/>
          <a:p>
            <a:pPr eaLnBrk="1" hangingPunct="1">
              <a:lnSpc>
                <a:spcPct val="85000"/>
              </a:lnSpc>
            </a:pPr>
            <a:r>
              <a:rPr lang="da-DK" sz="1800" smtClean="0">
                <a:sym typeface="Verdana" pitchFamily="34" charset="0"/>
              </a:rPr>
              <a:t>Présomption du diabète</a:t>
            </a:r>
          </a:p>
        </p:txBody>
      </p:sp>
      <p:pic>
        <p:nvPicPr>
          <p:cNvPr id="5124" name="Picture 7" descr="cdic.jpg"/>
          <p:cNvPicPr>
            <a:picLocks noChangeAspect="1"/>
          </p:cNvPicPr>
          <p:nvPr/>
        </p:nvPicPr>
        <p:blipFill>
          <a:blip r:embed="rId3"/>
          <a:srcRect/>
          <a:stretch>
            <a:fillRect/>
          </a:stretch>
        </p:blipFill>
        <p:spPr bwMode="auto">
          <a:xfrm>
            <a:off x="485775" y="333375"/>
            <a:ext cx="2314575" cy="1225550"/>
          </a:xfrm>
          <a:prstGeom prst="rect">
            <a:avLst/>
          </a:prstGeom>
          <a:noFill/>
          <a:ln w="9525">
            <a:noFill/>
            <a:miter lim="800000"/>
            <a:headEnd/>
            <a:tailEnd/>
          </a:ln>
        </p:spPr>
      </p:pic>
      <p:pic>
        <p:nvPicPr>
          <p:cNvPr id="5125" name="Picture 6" descr="JRE-NOVONORDISK-CDIC-UG ETH DRC-20100909-201009091543 (Large)"/>
          <p:cNvPicPr>
            <a:picLocks noChangeAspect="1" noChangeArrowheads="1"/>
          </p:cNvPicPr>
          <p:nvPr/>
        </p:nvPicPr>
        <p:blipFill>
          <a:blip r:embed="rId4"/>
          <a:srcRect t="12317" b="34239"/>
          <a:stretch>
            <a:fillRect/>
          </a:stretch>
        </p:blipFill>
        <p:spPr bwMode="auto">
          <a:xfrm>
            <a:off x="0" y="2413000"/>
            <a:ext cx="9144000" cy="3251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Le diabète de l'enfant</a:t>
            </a:r>
          </a:p>
        </p:txBody>
      </p:sp>
      <p:sp>
        <p:nvSpPr>
          <p:cNvPr id="6147" name="Content Placeholder 2"/>
          <p:cNvSpPr>
            <a:spLocks noGrp="1"/>
          </p:cNvSpPr>
          <p:nvPr>
            <p:ph idx="4294967295"/>
          </p:nvPr>
        </p:nvSpPr>
        <p:spPr/>
        <p:txBody>
          <a:bodyPr/>
          <a:lstStyle/>
          <a:p>
            <a:pPr eaLnBrk="1" hangingPunct="1">
              <a:spcAft>
                <a:spcPct val="10000"/>
              </a:spcAft>
              <a:buClr>
                <a:srgbClr val="009FDA"/>
              </a:buClr>
            </a:pPr>
            <a:r>
              <a:rPr lang="da-DK" smtClean="0">
                <a:solidFill>
                  <a:srgbClr val="001965"/>
                </a:solidFill>
                <a:sym typeface="Verdana" pitchFamily="34" charset="0"/>
              </a:rPr>
              <a:t>Comment le diabète se développe-t-il chez l'enfant ?</a:t>
            </a:r>
          </a:p>
          <a:p>
            <a:pPr eaLnBrk="1" hangingPunct="1">
              <a:spcAft>
                <a:spcPct val="10000"/>
              </a:spcAft>
              <a:buClr>
                <a:srgbClr val="009FDA"/>
              </a:buClr>
            </a:pPr>
            <a:r>
              <a:rPr lang="da-DK" smtClean="0">
                <a:solidFill>
                  <a:srgbClr val="001965"/>
                </a:solidFill>
                <a:sym typeface="Verdana" pitchFamily="34" charset="0"/>
              </a:rPr>
              <a:t>Pourquoi les enfants atteints de diabète doivent-ils être traités différemment de la plupart des adultes atteints de diabète ?</a:t>
            </a:r>
          </a:p>
          <a:p>
            <a:pPr eaLnBrk="1" hangingPunct="1">
              <a:spcAft>
                <a:spcPct val="10000"/>
              </a:spcAft>
              <a:buClr>
                <a:srgbClr val="009FDA"/>
              </a:buClr>
            </a:pPr>
            <a:r>
              <a:rPr lang="da-DK" smtClean="0">
                <a:solidFill>
                  <a:srgbClr val="001965"/>
                </a:solidFill>
                <a:sym typeface="Verdana" pitchFamily="34" charset="0"/>
              </a:rPr>
              <a:t>Pourquoi les enfants touchés par le diabète peuvent-ils tomber si gravement malades et parfois en mourir ?</a:t>
            </a:r>
          </a:p>
        </p:txBody>
      </p:sp>
      <p:sp>
        <p:nvSpPr>
          <p:cNvPr id="5125"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639BDFAF-BB06-413C-8C05-556300AD7439}" type="slidenum">
              <a:rPr lang="da-DK" smtClean="0">
                <a:solidFill>
                  <a:srgbClr val="009FDA"/>
                </a:solidFill>
                <a:sym typeface="Verdana" pitchFamily="34" charset="0"/>
              </a:rPr>
              <a:pPr eaLnBrk="0" hangingPunct="0">
                <a:buSzPct val="100000"/>
                <a:defRPr/>
              </a:pPr>
              <a:t>4</a:t>
            </a:fld>
            <a:endParaRPr lang="da-DK" smtClean="0">
              <a:solidFill>
                <a:srgbClr val="009FDA"/>
              </a:solidFill>
              <a:sym typeface="Verdana" pitchFamily="34" charset="0"/>
            </a:endParaRPr>
          </a:p>
        </p:txBody>
      </p:sp>
      <p:pic>
        <p:nvPicPr>
          <p:cNvPr id="6149"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Diabète</a:t>
            </a:r>
          </a:p>
        </p:txBody>
      </p:sp>
      <p:sp>
        <p:nvSpPr>
          <p:cNvPr id="7171" name="Content Placeholder 2"/>
          <p:cNvSpPr>
            <a:spLocks noGrp="1"/>
          </p:cNvSpPr>
          <p:nvPr>
            <p:ph idx="4294967295"/>
          </p:nvPr>
        </p:nvSpPr>
        <p:spPr/>
        <p:txBody>
          <a:bodyPr/>
          <a:lstStyle/>
          <a:p>
            <a:pPr eaLnBrk="1" hangingPunct="1">
              <a:spcAft>
                <a:spcPct val="10000"/>
              </a:spcAft>
              <a:buClr>
                <a:srgbClr val="009FDA"/>
              </a:buClr>
            </a:pPr>
            <a:r>
              <a:rPr lang="da-DK" smtClean="0">
                <a:solidFill>
                  <a:srgbClr val="001965"/>
                </a:solidFill>
                <a:sym typeface="Verdana" pitchFamily="34" charset="0"/>
              </a:rPr>
              <a:t>Groupe de troubles caractérisés par des niveaux de glucose sanguin chroniquement élevés</a:t>
            </a:r>
          </a:p>
          <a:p>
            <a:pPr eaLnBrk="1" hangingPunct="1">
              <a:spcAft>
                <a:spcPct val="10000"/>
              </a:spcAft>
              <a:buClr>
                <a:srgbClr val="009FDA"/>
              </a:buClr>
            </a:pPr>
            <a:r>
              <a:rPr lang="da-DK" smtClean="0">
                <a:solidFill>
                  <a:srgbClr val="001965"/>
                </a:solidFill>
                <a:sym typeface="Verdana" pitchFamily="34" charset="0"/>
              </a:rPr>
              <a:t>Le glucose sanguin provient</a:t>
            </a:r>
          </a:p>
          <a:p>
            <a:pPr lvl="1" eaLnBrk="1" hangingPunct="1">
              <a:spcAft>
                <a:spcPct val="10000"/>
              </a:spcAft>
              <a:buClr>
                <a:srgbClr val="FF0505"/>
              </a:buClr>
            </a:pPr>
            <a:r>
              <a:rPr lang="da-DK" smtClean="0">
                <a:solidFill>
                  <a:srgbClr val="001965"/>
                </a:solidFill>
                <a:sym typeface="Verdana" pitchFamily="34" charset="0"/>
              </a:rPr>
              <a:t>Des aliments (ils sont transformés en glucose dans le foie)</a:t>
            </a:r>
          </a:p>
          <a:p>
            <a:pPr lvl="1" eaLnBrk="1" hangingPunct="1">
              <a:spcAft>
                <a:spcPct val="10000"/>
              </a:spcAft>
              <a:buClr>
                <a:srgbClr val="FF0505"/>
              </a:buClr>
            </a:pPr>
            <a:r>
              <a:rPr lang="da-DK" smtClean="0">
                <a:solidFill>
                  <a:srgbClr val="001965"/>
                </a:solidFill>
                <a:sym typeface="Verdana" pitchFamily="34" charset="0"/>
              </a:rPr>
              <a:t>Des réserves (énergie stockée dans le foie, les muscles et les tissus graisseux)</a:t>
            </a:r>
          </a:p>
          <a:p>
            <a:pPr eaLnBrk="1" hangingPunct="1">
              <a:spcAft>
                <a:spcPct val="10000"/>
              </a:spcAft>
              <a:buClr>
                <a:srgbClr val="009FDA"/>
              </a:buClr>
            </a:pPr>
            <a:r>
              <a:rPr lang="da-DK" smtClean="0">
                <a:solidFill>
                  <a:srgbClr val="001965"/>
                </a:solidFill>
                <a:sym typeface="Verdana" pitchFamily="34" charset="0"/>
              </a:rPr>
              <a:t>Le glucose fournit de l'énergie aux cellules et aux organes</a:t>
            </a:r>
          </a:p>
          <a:p>
            <a:pPr lvl="1" eaLnBrk="1" hangingPunct="1">
              <a:spcAft>
                <a:spcPct val="10000"/>
              </a:spcAft>
              <a:buClr>
                <a:srgbClr val="FF0505"/>
              </a:buClr>
            </a:pPr>
            <a:r>
              <a:rPr lang="da-DK" smtClean="0">
                <a:solidFill>
                  <a:srgbClr val="001965"/>
                </a:solidFill>
                <a:sym typeface="Verdana" pitchFamily="34" charset="0"/>
              </a:rPr>
              <a:t>L'insuline est nécessaire pour que le glucose passe du sang aux cellules</a:t>
            </a:r>
          </a:p>
        </p:txBody>
      </p:sp>
      <p:sp>
        <p:nvSpPr>
          <p:cNvPr id="6149"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BD539B7F-F7D0-4523-8BD6-EB056FAD1C96}" type="slidenum">
              <a:rPr lang="da-DK" smtClean="0">
                <a:solidFill>
                  <a:srgbClr val="009FDA"/>
                </a:solidFill>
                <a:sym typeface="Verdana" pitchFamily="34" charset="0"/>
              </a:rPr>
              <a:pPr eaLnBrk="0" hangingPunct="0">
                <a:buSzPct val="100000"/>
                <a:defRPr/>
              </a:pPr>
              <a:t>5</a:t>
            </a:fld>
            <a:endParaRPr lang="da-DK" smtClean="0">
              <a:solidFill>
                <a:srgbClr val="009FDA"/>
              </a:solidFill>
              <a:sym typeface="Verdana" pitchFamily="34" charset="0"/>
            </a:endParaRPr>
          </a:p>
        </p:txBody>
      </p:sp>
      <p:pic>
        <p:nvPicPr>
          <p:cNvPr id="7173"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Insuline</a:t>
            </a:r>
          </a:p>
        </p:txBody>
      </p:sp>
      <p:sp>
        <p:nvSpPr>
          <p:cNvPr id="8195" name="Content Placeholder 2"/>
          <p:cNvSpPr>
            <a:spLocks noGrp="1"/>
          </p:cNvSpPr>
          <p:nvPr>
            <p:ph idx="4294967295"/>
          </p:nvPr>
        </p:nvSpPr>
        <p:spPr/>
        <p:txBody>
          <a:bodyPr/>
          <a:lstStyle/>
          <a:p>
            <a:pPr eaLnBrk="1" hangingPunct="1">
              <a:buClr>
                <a:srgbClr val="009FDA"/>
              </a:buClr>
            </a:pPr>
            <a:r>
              <a:rPr lang="da-DK" smtClean="0">
                <a:solidFill>
                  <a:srgbClr val="001965"/>
                </a:solidFill>
                <a:sym typeface="Verdana" pitchFamily="34" charset="0"/>
              </a:rPr>
              <a:t>Hormone sécrétée par le pancréas</a:t>
            </a:r>
          </a:p>
          <a:p>
            <a:pPr eaLnBrk="1" hangingPunct="1">
              <a:buClr>
                <a:srgbClr val="009FDA"/>
              </a:buClr>
            </a:pPr>
            <a:r>
              <a:rPr lang="da-DK" smtClean="0">
                <a:solidFill>
                  <a:srgbClr val="001965"/>
                </a:solidFill>
                <a:sym typeface="Verdana" pitchFamily="34" charset="0"/>
              </a:rPr>
              <a:t>Produite par les cellules bêta du pancréas</a:t>
            </a:r>
          </a:p>
          <a:p>
            <a:pPr eaLnBrk="1" hangingPunct="1">
              <a:buClr>
                <a:srgbClr val="009FDA"/>
              </a:buClr>
            </a:pPr>
            <a:r>
              <a:rPr lang="da-DK" smtClean="0">
                <a:solidFill>
                  <a:srgbClr val="001965"/>
                </a:solidFill>
                <a:sym typeface="Verdana" pitchFamily="34" charset="0"/>
              </a:rPr>
              <a:t>Le diabète survient si :</a:t>
            </a:r>
          </a:p>
          <a:p>
            <a:pPr lvl="1" eaLnBrk="1" hangingPunct="1">
              <a:buClr>
                <a:srgbClr val="FF0505"/>
              </a:buClr>
            </a:pPr>
            <a:r>
              <a:rPr lang="da-DK" smtClean="0">
                <a:solidFill>
                  <a:srgbClr val="001965"/>
                </a:solidFill>
                <a:sym typeface="Verdana" pitchFamily="34" charset="0"/>
              </a:rPr>
              <a:t>Le pancréas ne produit pas suffisamment d'insuline (diabète de type 1)</a:t>
            </a:r>
          </a:p>
          <a:p>
            <a:pPr lvl="1" eaLnBrk="1" hangingPunct="1">
              <a:buClr>
                <a:srgbClr val="FF0505"/>
              </a:buClr>
            </a:pPr>
            <a:r>
              <a:rPr lang="da-DK" smtClean="0">
                <a:solidFill>
                  <a:srgbClr val="001965"/>
                </a:solidFill>
                <a:sym typeface="Verdana" pitchFamily="34" charset="0"/>
              </a:rPr>
              <a:t>L'effet de l'insuline diminue (diabète de type 2)</a:t>
            </a:r>
          </a:p>
        </p:txBody>
      </p:sp>
      <p:sp>
        <p:nvSpPr>
          <p:cNvPr id="7173"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0A351D87-AD24-4286-ADC3-A8D913D3A7D0}" type="slidenum">
              <a:rPr lang="da-DK" smtClean="0">
                <a:solidFill>
                  <a:srgbClr val="009FDA"/>
                </a:solidFill>
                <a:sym typeface="Verdana" pitchFamily="34" charset="0"/>
              </a:rPr>
              <a:pPr eaLnBrk="0" hangingPunct="0">
                <a:buSzPct val="100000"/>
                <a:defRPr/>
              </a:pPr>
              <a:t>6</a:t>
            </a:fld>
            <a:endParaRPr lang="da-DK" smtClean="0">
              <a:solidFill>
                <a:srgbClr val="009FDA"/>
              </a:solidFill>
              <a:sym typeface="Verdana" pitchFamily="34" charset="0"/>
            </a:endParaRPr>
          </a:p>
        </p:txBody>
      </p:sp>
      <p:pic>
        <p:nvPicPr>
          <p:cNvPr id="8197"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3714750" y="1428750"/>
            <a:ext cx="3143250" cy="842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chemeClr val="tx1"/>
              </a:solidFill>
            </a:endParaRPr>
          </a:p>
        </p:txBody>
      </p:sp>
      <p:grpSp>
        <p:nvGrpSpPr>
          <p:cNvPr id="9219" name="Group 4"/>
          <p:cNvGrpSpPr>
            <a:grpSpLocks/>
          </p:cNvGrpSpPr>
          <p:nvPr/>
        </p:nvGrpSpPr>
        <p:grpSpPr bwMode="auto">
          <a:xfrm>
            <a:off x="395288" y="1690688"/>
            <a:ext cx="4464050" cy="3067050"/>
            <a:chOff x="395536" y="1690171"/>
            <a:chExt cx="6392168" cy="3067553"/>
          </a:xfrm>
        </p:grpSpPr>
        <p:sp>
          <p:nvSpPr>
            <p:cNvPr id="9226" name="AutoShape 9"/>
            <p:cNvSpPr>
              <a:spLocks noChangeArrowheads="1"/>
            </p:cNvSpPr>
            <p:nvPr/>
          </p:nvSpPr>
          <p:spPr bwMode="auto">
            <a:xfrm>
              <a:off x="2305844" y="2100275"/>
              <a:ext cx="1587500" cy="2657449"/>
            </a:xfrm>
            <a:prstGeom prst="can">
              <a:avLst>
                <a:gd name="adj" fmla="val 12981"/>
              </a:avLst>
            </a:prstGeom>
            <a:solidFill>
              <a:srgbClr val="C00000"/>
            </a:solidFill>
            <a:ln w="9525">
              <a:solidFill>
                <a:schemeClr val="tx1"/>
              </a:solidFill>
              <a:round/>
              <a:headEnd/>
              <a:tailEnd/>
            </a:ln>
          </p:spPr>
          <p:txBody>
            <a:bodyPr wrap="none" anchor="ctr"/>
            <a:lstStyle/>
            <a:p>
              <a:endParaRPr lang="en-US"/>
            </a:p>
          </p:txBody>
        </p:sp>
        <p:sp>
          <p:nvSpPr>
            <p:cNvPr id="9227" name="AutoShape 10"/>
            <p:cNvSpPr>
              <a:spLocks noChangeArrowheads="1"/>
            </p:cNvSpPr>
            <p:nvPr/>
          </p:nvSpPr>
          <p:spPr bwMode="auto">
            <a:xfrm>
              <a:off x="3857626" y="2198687"/>
              <a:ext cx="2930078" cy="2559037"/>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p>
          </p:txBody>
        </p:sp>
        <p:sp>
          <p:nvSpPr>
            <p:cNvPr id="9228" name="Rectangle 11"/>
            <p:cNvSpPr>
              <a:spLocks noChangeArrowheads="1"/>
            </p:cNvSpPr>
            <p:nvPr/>
          </p:nvSpPr>
          <p:spPr bwMode="auto">
            <a:xfrm>
              <a:off x="3857625" y="2198687"/>
              <a:ext cx="45719" cy="2559037"/>
            </a:xfrm>
            <a:prstGeom prst="rect">
              <a:avLst/>
            </a:prstGeom>
            <a:solidFill>
              <a:schemeClr val="tx1"/>
            </a:solidFill>
            <a:ln w="9525">
              <a:solidFill>
                <a:schemeClr val="tx1"/>
              </a:solidFill>
              <a:miter lim="800000"/>
              <a:headEnd/>
              <a:tailEnd/>
            </a:ln>
          </p:spPr>
          <p:txBody>
            <a:bodyPr wrap="none" anchor="ctr"/>
            <a:lstStyle/>
            <a:p>
              <a:endParaRPr lang="en-US"/>
            </a:p>
          </p:txBody>
        </p:sp>
        <p:sp>
          <p:nvSpPr>
            <p:cNvPr id="9229" name="AutoShape 12"/>
            <p:cNvSpPr>
              <a:spLocks noChangeArrowheads="1"/>
            </p:cNvSpPr>
            <p:nvPr/>
          </p:nvSpPr>
          <p:spPr bwMode="auto">
            <a:xfrm>
              <a:off x="2628900" y="2677319"/>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9230" name="AutoShape 13"/>
            <p:cNvSpPr>
              <a:spLocks noChangeArrowheads="1"/>
            </p:cNvSpPr>
            <p:nvPr/>
          </p:nvSpPr>
          <p:spPr bwMode="auto">
            <a:xfrm>
              <a:off x="3362326" y="3034506"/>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9231" name="AutoShape 14"/>
            <p:cNvSpPr>
              <a:spLocks noChangeArrowheads="1"/>
            </p:cNvSpPr>
            <p:nvPr/>
          </p:nvSpPr>
          <p:spPr bwMode="auto">
            <a:xfrm>
              <a:off x="3024188" y="2854325"/>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9232" name="AutoShape 15"/>
            <p:cNvSpPr>
              <a:spLocks noChangeArrowheads="1"/>
            </p:cNvSpPr>
            <p:nvPr/>
          </p:nvSpPr>
          <p:spPr bwMode="auto">
            <a:xfrm>
              <a:off x="2484438" y="3251993"/>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9233" name="AutoShape 16"/>
            <p:cNvSpPr>
              <a:spLocks noChangeArrowheads="1"/>
            </p:cNvSpPr>
            <p:nvPr/>
          </p:nvSpPr>
          <p:spPr bwMode="auto">
            <a:xfrm>
              <a:off x="3302001" y="3476624"/>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9234" name="AutoShape 17"/>
            <p:cNvSpPr>
              <a:spLocks noChangeArrowheads="1"/>
            </p:cNvSpPr>
            <p:nvPr/>
          </p:nvSpPr>
          <p:spPr bwMode="auto">
            <a:xfrm>
              <a:off x="2789238" y="3369469"/>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9235" name="AutoShape 18"/>
            <p:cNvSpPr>
              <a:spLocks noChangeArrowheads="1"/>
            </p:cNvSpPr>
            <p:nvPr/>
          </p:nvSpPr>
          <p:spPr bwMode="auto">
            <a:xfrm>
              <a:off x="3140076" y="4003676"/>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9236" name="AutoShape 19"/>
            <p:cNvSpPr>
              <a:spLocks noChangeArrowheads="1"/>
            </p:cNvSpPr>
            <p:nvPr/>
          </p:nvSpPr>
          <p:spPr bwMode="auto">
            <a:xfrm>
              <a:off x="2573338" y="3745705"/>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9237" name="AutoShape 20"/>
            <p:cNvSpPr>
              <a:spLocks noChangeArrowheads="1"/>
            </p:cNvSpPr>
            <p:nvPr/>
          </p:nvSpPr>
          <p:spPr bwMode="auto">
            <a:xfrm>
              <a:off x="2573338" y="4294187"/>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9238" name="AutoShape 22"/>
            <p:cNvSpPr>
              <a:spLocks noChangeArrowheads="1"/>
            </p:cNvSpPr>
            <p:nvPr/>
          </p:nvSpPr>
          <p:spPr bwMode="auto">
            <a:xfrm>
              <a:off x="3278189" y="4325130"/>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grpSp>
          <p:nvGrpSpPr>
            <p:cNvPr id="9239" name="Group 30"/>
            <p:cNvGrpSpPr>
              <a:grpSpLocks/>
            </p:cNvGrpSpPr>
            <p:nvPr/>
          </p:nvGrpSpPr>
          <p:grpSpPr bwMode="auto">
            <a:xfrm>
              <a:off x="5763931" y="2413308"/>
              <a:ext cx="865188" cy="819943"/>
              <a:chOff x="4195" y="3458"/>
              <a:chExt cx="862" cy="862"/>
            </a:xfrm>
          </p:grpSpPr>
          <p:sp>
            <p:nvSpPr>
              <p:cNvPr id="9243" name="Oval 25"/>
              <p:cNvSpPr>
                <a:spLocks noChangeArrowheads="1"/>
              </p:cNvSpPr>
              <p:nvPr/>
            </p:nvSpPr>
            <p:spPr bwMode="auto">
              <a:xfrm>
                <a:off x="4195" y="3458"/>
                <a:ext cx="862" cy="862"/>
              </a:xfrm>
              <a:prstGeom prst="ellipse">
                <a:avLst/>
              </a:prstGeom>
              <a:solidFill>
                <a:schemeClr val="accent1"/>
              </a:solidFill>
              <a:ln w="9525">
                <a:solidFill>
                  <a:srgbClr val="000000"/>
                </a:solidFill>
                <a:round/>
                <a:headEnd/>
                <a:tailEnd/>
              </a:ln>
            </p:spPr>
            <p:txBody>
              <a:bodyPr wrap="none" anchor="ctr"/>
              <a:lstStyle/>
              <a:p>
                <a:endParaRPr lang="en-US"/>
              </a:p>
            </p:txBody>
          </p:sp>
          <p:sp>
            <p:nvSpPr>
              <p:cNvPr id="9244" name="AutoShape 26"/>
              <p:cNvSpPr>
                <a:spLocks noChangeArrowheads="1"/>
              </p:cNvSpPr>
              <p:nvPr/>
            </p:nvSpPr>
            <p:spPr bwMode="auto">
              <a:xfrm>
                <a:off x="4468" y="3702"/>
                <a:ext cx="91" cy="91"/>
              </a:xfrm>
              <a:prstGeom prst="flowChartConnector">
                <a:avLst/>
              </a:prstGeom>
              <a:solidFill>
                <a:schemeClr val="accent1"/>
              </a:solidFill>
              <a:ln w="9525">
                <a:solidFill>
                  <a:schemeClr val="tx1"/>
                </a:solidFill>
                <a:round/>
                <a:headEnd/>
                <a:tailEnd/>
              </a:ln>
            </p:spPr>
            <p:txBody>
              <a:bodyPr wrap="none" anchor="ctr"/>
              <a:lstStyle/>
              <a:p>
                <a:endParaRPr lang="en-US"/>
              </a:p>
            </p:txBody>
          </p:sp>
          <p:sp>
            <p:nvSpPr>
              <p:cNvPr id="9245" name="AutoShape 27"/>
              <p:cNvSpPr>
                <a:spLocks noChangeArrowheads="1"/>
              </p:cNvSpPr>
              <p:nvPr/>
            </p:nvSpPr>
            <p:spPr bwMode="auto">
              <a:xfrm>
                <a:off x="4740" y="3702"/>
                <a:ext cx="91" cy="91"/>
              </a:xfrm>
              <a:prstGeom prst="flowChartConnector">
                <a:avLst/>
              </a:prstGeom>
              <a:solidFill>
                <a:schemeClr val="accent1"/>
              </a:solidFill>
              <a:ln w="9525">
                <a:solidFill>
                  <a:schemeClr val="tx1"/>
                </a:solidFill>
                <a:round/>
                <a:headEnd/>
                <a:tailEnd/>
              </a:ln>
            </p:spPr>
            <p:txBody>
              <a:bodyPr wrap="none" anchor="ctr"/>
              <a:lstStyle/>
              <a:p>
                <a:endParaRPr lang="en-US"/>
              </a:p>
            </p:txBody>
          </p:sp>
          <p:sp>
            <p:nvSpPr>
              <p:cNvPr id="9246" name="AutoShape 29"/>
              <p:cNvSpPr>
                <a:spLocks noChangeArrowheads="1"/>
              </p:cNvSpPr>
              <p:nvPr/>
            </p:nvSpPr>
            <p:spPr bwMode="auto">
              <a:xfrm rot="-5400000">
                <a:off x="4603" y="3793"/>
                <a:ext cx="45" cy="408"/>
              </a:xfrm>
              <a:prstGeom prst="moon">
                <a:avLst>
                  <a:gd name="adj" fmla="val 58042"/>
                </a:avLst>
              </a:prstGeom>
              <a:solidFill>
                <a:schemeClr val="accent1"/>
              </a:solidFill>
              <a:ln w="9525">
                <a:solidFill>
                  <a:srgbClr val="000000"/>
                </a:solidFill>
                <a:miter lim="800000"/>
                <a:headEnd/>
                <a:tailEnd/>
              </a:ln>
            </p:spPr>
            <p:txBody>
              <a:bodyPr wrap="none" anchor="ctr"/>
              <a:lstStyle/>
              <a:p>
                <a:endParaRPr lang="en-US"/>
              </a:p>
            </p:txBody>
          </p:sp>
        </p:grpSp>
        <p:cxnSp>
          <p:nvCxnSpPr>
            <p:cNvPr id="25" name="Straight Arrow Connector 24"/>
            <p:cNvCxnSpPr>
              <a:stCxn id="28" idx="2"/>
            </p:cNvCxnSpPr>
            <p:nvPr/>
          </p:nvCxnSpPr>
          <p:spPr>
            <a:xfrm>
              <a:off x="1350269" y="3322389"/>
              <a:ext cx="1222968" cy="531899"/>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395536" y="2893693"/>
              <a:ext cx="1909467" cy="428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buSzPct val="100000"/>
                <a:defRPr/>
              </a:pPr>
              <a:r>
                <a:rPr lang="da-DK">
                  <a:solidFill>
                    <a:srgbClr val="000000"/>
                  </a:solidFill>
                  <a:sym typeface="Verdana" pitchFamily="34" charset="0"/>
                </a:rPr>
                <a:t>Glucose</a:t>
              </a:r>
            </a:p>
          </p:txBody>
        </p:sp>
        <p:pic>
          <p:nvPicPr>
            <p:cNvPr id="9242" name="Picture 2" descr="carbohydrate"/>
            <p:cNvPicPr>
              <a:picLocks noChangeAspect="1" noChangeArrowheads="1"/>
            </p:cNvPicPr>
            <p:nvPr/>
          </p:nvPicPr>
          <p:blipFill>
            <a:blip r:embed="rId3"/>
            <a:srcRect/>
            <a:stretch>
              <a:fillRect/>
            </a:stretch>
          </p:blipFill>
          <p:spPr bwMode="auto">
            <a:xfrm>
              <a:off x="395536" y="1690171"/>
              <a:ext cx="1169987" cy="1214437"/>
            </a:xfrm>
            <a:prstGeom prst="rect">
              <a:avLst/>
            </a:prstGeom>
            <a:noFill/>
            <a:ln w="9525">
              <a:noFill/>
              <a:miter lim="800000"/>
              <a:headEnd/>
              <a:tailEnd/>
            </a:ln>
          </p:spPr>
        </p:pic>
      </p:grpSp>
      <p:sp>
        <p:nvSpPr>
          <p:cNvPr id="9220" name="Title 1"/>
          <p:cNvSpPr>
            <a:spLocks noGrp="1"/>
          </p:cNvSpPr>
          <p:nvPr>
            <p:ph type="title" idx="4294967295"/>
          </p:nvPr>
        </p:nvSpPr>
        <p:spPr/>
        <p:txBody>
          <a:bodyPr/>
          <a:lstStyle/>
          <a:p>
            <a:pPr eaLnBrk="1" hangingPunct="1"/>
            <a:r>
              <a:rPr lang="da-DK" smtClean="0">
                <a:sym typeface="Verdana" pitchFamily="34" charset="0"/>
              </a:rPr>
              <a:t>Glucose</a:t>
            </a:r>
          </a:p>
        </p:txBody>
      </p:sp>
      <p:sp>
        <p:nvSpPr>
          <p:cNvPr id="9221" name="Content Placeholder 7"/>
          <p:cNvSpPr>
            <a:spLocks noGrp="1"/>
          </p:cNvSpPr>
          <p:nvPr>
            <p:ph sz="half" idx="4294967295"/>
          </p:nvPr>
        </p:nvSpPr>
        <p:spPr>
          <a:xfrm>
            <a:off x="5072063" y="1625600"/>
            <a:ext cx="3590925" cy="3729038"/>
          </a:xfrm>
        </p:spPr>
        <p:txBody>
          <a:bodyPr/>
          <a:lstStyle/>
          <a:p>
            <a:pPr eaLnBrk="1" hangingPunct="1">
              <a:spcAft>
                <a:spcPct val="10000"/>
              </a:spcAft>
              <a:buClr>
                <a:srgbClr val="009FDA"/>
              </a:buClr>
            </a:pPr>
            <a:r>
              <a:rPr lang="da-DK" smtClean="0">
                <a:solidFill>
                  <a:srgbClr val="001965"/>
                </a:solidFill>
                <a:sym typeface="Verdana" pitchFamily="34" charset="0"/>
              </a:rPr>
              <a:t>Les aliments sont transformés en glucose</a:t>
            </a:r>
          </a:p>
          <a:p>
            <a:pPr eaLnBrk="1" hangingPunct="1">
              <a:spcAft>
                <a:spcPct val="10000"/>
              </a:spcAft>
              <a:buClr>
                <a:srgbClr val="009FDA"/>
              </a:buClr>
            </a:pPr>
            <a:r>
              <a:rPr lang="da-DK" smtClean="0">
                <a:solidFill>
                  <a:srgbClr val="001965"/>
                </a:solidFill>
                <a:sym typeface="Verdana" pitchFamily="34" charset="0"/>
              </a:rPr>
              <a:t>Le glucose est la principale source d'énergie des cellules</a:t>
            </a:r>
          </a:p>
          <a:p>
            <a:pPr eaLnBrk="1" hangingPunct="1">
              <a:spcAft>
                <a:spcPct val="10000"/>
              </a:spcAft>
              <a:buClr>
                <a:srgbClr val="009FDA"/>
              </a:buClr>
            </a:pPr>
            <a:r>
              <a:rPr lang="da-DK" smtClean="0">
                <a:solidFill>
                  <a:srgbClr val="001965"/>
                </a:solidFill>
                <a:sym typeface="Verdana" pitchFamily="34" charset="0"/>
              </a:rPr>
              <a:t>Sans insuline, le glucose n'est pas capable de pénétrer dans les cellules</a:t>
            </a:r>
          </a:p>
        </p:txBody>
      </p:sp>
      <p:sp>
        <p:nvSpPr>
          <p:cNvPr id="8199" name="Slide Number Placeholder 28"/>
          <p:cNvSpPr>
            <a:spLocks noGrp="1"/>
          </p:cNvSpPr>
          <p:nvPr>
            <p:ph type="sldNum" sz="quarter" idx="11"/>
          </p:nvPr>
        </p:nvSpPr>
        <p:spPr/>
        <p:txBody>
          <a:bodyPr/>
          <a:lstStyle/>
          <a:p>
            <a:pPr eaLnBrk="0" hangingPunct="0">
              <a:buSzPct val="100000"/>
              <a:defRPr/>
            </a:pPr>
            <a:fld id="{19EC1FB8-8DA6-4C16-9255-EDFA55D117C0}" type="slidenum">
              <a:rPr lang="da-DK" smtClean="0">
                <a:solidFill>
                  <a:srgbClr val="009FDA"/>
                </a:solidFill>
                <a:sym typeface="Verdana" pitchFamily="34" charset="0"/>
              </a:rPr>
              <a:pPr eaLnBrk="0" hangingPunct="0">
                <a:buSzPct val="100000"/>
                <a:defRPr/>
              </a:pPr>
              <a:t>7</a:t>
            </a:fld>
            <a:endParaRPr lang="da-DK" smtClean="0">
              <a:solidFill>
                <a:srgbClr val="009FDA"/>
              </a:solidFill>
              <a:sym typeface="Verdana" pitchFamily="34" charset="0"/>
            </a:endParaRPr>
          </a:p>
        </p:txBody>
      </p:sp>
      <p:sp>
        <p:nvSpPr>
          <p:cNvPr id="9223" name="TextBox 8"/>
          <p:cNvSpPr txBox="1">
            <a:spLocks noChangeArrowheads="1"/>
          </p:cNvSpPr>
          <p:nvPr/>
        </p:nvSpPr>
        <p:spPr bwMode="auto">
          <a:xfrm>
            <a:off x="900113" y="4797425"/>
            <a:ext cx="1790700" cy="366713"/>
          </a:xfrm>
          <a:prstGeom prst="rect">
            <a:avLst/>
          </a:prstGeom>
          <a:noFill/>
          <a:ln w="9525">
            <a:noFill/>
            <a:miter lim="800000"/>
            <a:headEnd/>
            <a:tailEnd/>
          </a:ln>
        </p:spPr>
        <p:txBody>
          <a:bodyPr wrap="none">
            <a:spAutoFit/>
          </a:bodyPr>
          <a:lstStyle/>
          <a:p>
            <a:pPr eaLnBrk="0" hangingPunct="0">
              <a:buSzPct val="100000"/>
            </a:pPr>
            <a:r>
              <a:rPr lang="da-DK">
                <a:sym typeface="Verdana" pitchFamily="34" charset="0"/>
              </a:rPr>
              <a:t>Vaisseau sanguin</a:t>
            </a:r>
          </a:p>
        </p:txBody>
      </p:sp>
      <p:sp>
        <p:nvSpPr>
          <p:cNvPr id="9224" name="TextBox 9"/>
          <p:cNvSpPr txBox="1">
            <a:spLocks noChangeArrowheads="1"/>
          </p:cNvSpPr>
          <p:nvPr/>
        </p:nvSpPr>
        <p:spPr bwMode="auto">
          <a:xfrm>
            <a:off x="3492500" y="4797425"/>
            <a:ext cx="657225" cy="366713"/>
          </a:xfrm>
          <a:prstGeom prst="rect">
            <a:avLst/>
          </a:prstGeom>
          <a:noFill/>
          <a:ln w="9525">
            <a:noFill/>
            <a:miter lim="800000"/>
            <a:headEnd/>
            <a:tailEnd/>
          </a:ln>
        </p:spPr>
        <p:txBody>
          <a:bodyPr wrap="none">
            <a:spAutoFit/>
          </a:bodyPr>
          <a:lstStyle/>
          <a:p>
            <a:pPr eaLnBrk="0" hangingPunct="0">
              <a:buSzPct val="100000"/>
            </a:pPr>
            <a:r>
              <a:rPr lang="da-DK">
                <a:sym typeface="Verdana" pitchFamily="34" charset="0"/>
              </a:rPr>
              <a:t>Cellule</a:t>
            </a:r>
          </a:p>
        </p:txBody>
      </p:sp>
      <p:pic>
        <p:nvPicPr>
          <p:cNvPr id="9225" name="Picture 3" descr="cdic.jpg"/>
          <p:cNvPicPr>
            <a:picLocks noChangeAspect="1"/>
          </p:cNvPicPr>
          <p:nvPr/>
        </p:nvPicPr>
        <p:blipFill>
          <a:blip r:embed="rId4"/>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3714750" y="1428750"/>
            <a:ext cx="3143250" cy="842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chemeClr val="tx1"/>
              </a:solidFill>
            </a:endParaRPr>
          </a:p>
        </p:txBody>
      </p:sp>
      <p:sp>
        <p:nvSpPr>
          <p:cNvPr id="10243" name="Title 1"/>
          <p:cNvSpPr>
            <a:spLocks noGrp="1"/>
          </p:cNvSpPr>
          <p:nvPr>
            <p:ph type="title" idx="4294967295"/>
          </p:nvPr>
        </p:nvSpPr>
        <p:spPr/>
        <p:txBody>
          <a:bodyPr/>
          <a:lstStyle/>
          <a:p>
            <a:pPr eaLnBrk="1" hangingPunct="1"/>
            <a:r>
              <a:rPr lang="da-DK" smtClean="0">
                <a:sym typeface="Verdana" pitchFamily="34" charset="0"/>
              </a:rPr>
              <a:t>Insuline</a:t>
            </a:r>
          </a:p>
        </p:txBody>
      </p:sp>
      <p:sp>
        <p:nvSpPr>
          <p:cNvPr id="10244" name="Content Placeholder 3"/>
          <p:cNvSpPr>
            <a:spLocks noGrp="1"/>
          </p:cNvSpPr>
          <p:nvPr>
            <p:ph sz="half" idx="4294967295"/>
          </p:nvPr>
        </p:nvSpPr>
        <p:spPr>
          <a:xfrm>
            <a:off x="5076825" y="1916113"/>
            <a:ext cx="3590925" cy="3729037"/>
          </a:xfrm>
        </p:spPr>
        <p:txBody>
          <a:bodyPr/>
          <a:lstStyle/>
          <a:p>
            <a:pPr eaLnBrk="1" hangingPunct="1">
              <a:spcAft>
                <a:spcPct val="10000"/>
              </a:spcAft>
              <a:buClr>
                <a:srgbClr val="009FDA"/>
              </a:buClr>
            </a:pPr>
            <a:r>
              <a:rPr lang="da-DK" smtClean="0">
                <a:solidFill>
                  <a:srgbClr val="001965"/>
                </a:solidFill>
                <a:sym typeface="Verdana" pitchFamily="34" charset="0"/>
              </a:rPr>
              <a:t>Le pancréas sécrète l'insuline</a:t>
            </a:r>
          </a:p>
          <a:p>
            <a:pPr eaLnBrk="1" hangingPunct="1">
              <a:spcAft>
                <a:spcPct val="10000"/>
              </a:spcAft>
              <a:buClr>
                <a:srgbClr val="009FDA"/>
              </a:buClr>
            </a:pPr>
            <a:r>
              <a:rPr lang="da-DK" smtClean="0">
                <a:solidFill>
                  <a:srgbClr val="001965"/>
                </a:solidFill>
                <a:sym typeface="Verdana" pitchFamily="34" charset="0"/>
              </a:rPr>
              <a:t>L'insuline transporte le glucose à l'intérieur des cellules et leur fournit de l'énergie</a:t>
            </a:r>
          </a:p>
        </p:txBody>
      </p:sp>
      <p:sp>
        <p:nvSpPr>
          <p:cNvPr id="9222" name="Slide Number Placeholder 28"/>
          <p:cNvSpPr>
            <a:spLocks noGrp="1"/>
          </p:cNvSpPr>
          <p:nvPr>
            <p:ph type="sldNum" sz="quarter" idx="11"/>
          </p:nvPr>
        </p:nvSpPr>
        <p:spPr/>
        <p:txBody>
          <a:bodyPr/>
          <a:lstStyle/>
          <a:p>
            <a:pPr eaLnBrk="0" hangingPunct="0">
              <a:buSzPct val="100000"/>
              <a:defRPr/>
            </a:pPr>
            <a:fld id="{92D277EA-2D9A-4F2D-96C4-698AB835FFD6}" type="slidenum">
              <a:rPr lang="da-DK" smtClean="0">
                <a:solidFill>
                  <a:srgbClr val="009FDA"/>
                </a:solidFill>
                <a:sym typeface="Verdana" pitchFamily="34" charset="0"/>
              </a:rPr>
              <a:pPr eaLnBrk="0" hangingPunct="0">
                <a:buSzPct val="100000"/>
                <a:defRPr/>
              </a:pPr>
              <a:t>8</a:t>
            </a:fld>
            <a:endParaRPr lang="da-DK" smtClean="0">
              <a:solidFill>
                <a:srgbClr val="009FDA"/>
              </a:solidFill>
              <a:sym typeface="Verdana" pitchFamily="34" charset="0"/>
            </a:endParaRPr>
          </a:p>
        </p:txBody>
      </p:sp>
      <p:grpSp>
        <p:nvGrpSpPr>
          <p:cNvPr id="10246" name="Group 1"/>
          <p:cNvGrpSpPr>
            <a:grpSpLocks/>
          </p:cNvGrpSpPr>
          <p:nvPr/>
        </p:nvGrpSpPr>
        <p:grpSpPr bwMode="auto">
          <a:xfrm>
            <a:off x="503238" y="1643063"/>
            <a:ext cx="4460875" cy="3114675"/>
            <a:chOff x="502964" y="1643118"/>
            <a:chExt cx="6284740" cy="3114606"/>
          </a:xfrm>
        </p:grpSpPr>
        <p:sp>
          <p:nvSpPr>
            <p:cNvPr id="10250" name="AutoShape 9"/>
            <p:cNvSpPr>
              <a:spLocks noChangeArrowheads="1"/>
            </p:cNvSpPr>
            <p:nvPr/>
          </p:nvSpPr>
          <p:spPr bwMode="auto">
            <a:xfrm>
              <a:off x="2305844" y="2100275"/>
              <a:ext cx="1587500" cy="2657449"/>
            </a:xfrm>
            <a:prstGeom prst="can">
              <a:avLst>
                <a:gd name="adj" fmla="val 12981"/>
              </a:avLst>
            </a:prstGeom>
            <a:solidFill>
              <a:srgbClr val="C00000"/>
            </a:solidFill>
            <a:ln w="9525">
              <a:solidFill>
                <a:schemeClr val="tx1"/>
              </a:solidFill>
              <a:round/>
              <a:headEnd/>
              <a:tailEnd/>
            </a:ln>
          </p:spPr>
          <p:txBody>
            <a:bodyPr wrap="none" anchor="ctr"/>
            <a:lstStyle/>
            <a:p>
              <a:endParaRPr lang="en-US"/>
            </a:p>
          </p:txBody>
        </p:sp>
        <p:sp>
          <p:nvSpPr>
            <p:cNvPr id="10251" name="AutoShape 10"/>
            <p:cNvSpPr>
              <a:spLocks noChangeArrowheads="1"/>
            </p:cNvSpPr>
            <p:nvPr/>
          </p:nvSpPr>
          <p:spPr bwMode="auto">
            <a:xfrm>
              <a:off x="3857626" y="2198687"/>
              <a:ext cx="2930078" cy="2559037"/>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p>
          </p:txBody>
        </p:sp>
        <p:sp>
          <p:nvSpPr>
            <p:cNvPr id="19460" name="Rectangle 11"/>
            <p:cNvSpPr>
              <a:spLocks noChangeArrowheads="1"/>
            </p:cNvSpPr>
            <p:nvPr/>
          </p:nvSpPr>
          <p:spPr bwMode="auto">
            <a:xfrm>
              <a:off x="3857807" y="2198731"/>
              <a:ext cx="44731" cy="2558993"/>
            </a:xfrm>
            <a:prstGeom prst="rect">
              <a:avLst/>
            </a:prstGeom>
            <a:solidFill>
              <a:schemeClr val="bg1">
                <a:lumMod val="65000"/>
              </a:schemeClr>
            </a:solidFill>
            <a:ln w="9525">
              <a:solidFill>
                <a:schemeClr val="tx1"/>
              </a:solidFill>
              <a:miter lim="800000"/>
              <a:headEnd/>
              <a:tailEnd/>
            </a:ln>
          </p:spPr>
          <p:txBody>
            <a:bodyPr wrap="none" anchor="ctr"/>
            <a:lstStyle/>
            <a:p>
              <a:pPr>
                <a:defRPr/>
              </a:pPr>
              <a:endParaRPr lang="en-US">
                <a:cs typeface="+mn-cs"/>
              </a:endParaRPr>
            </a:p>
          </p:txBody>
        </p:sp>
        <p:sp>
          <p:nvSpPr>
            <p:cNvPr id="10253" name="AutoShape 12"/>
            <p:cNvSpPr>
              <a:spLocks noChangeArrowheads="1"/>
            </p:cNvSpPr>
            <p:nvPr/>
          </p:nvSpPr>
          <p:spPr bwMode="auto">
            <a:xfrm>
              <a:off x="2573338" y="2927284"/>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0254" name="AutoShape 13"/>
            <p:cNvSpPr>
              <a:spLocks noChangeArrowheads="1"/>
            </p:cNvSpPr>
            <p:nvPr/>
          </p:nvSpPr>
          <p:spPr bwMode="auto">
            <a:xfrm>
              <a:off x="3362326" y="3034506"/>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0255" name="AutoShape 14"/>
            <p:cNvSpPr>
              <a:spLocks noChangeArrowheads="1"/>
            </p:cNvSpPr>
            <p:nvPr/>
          </p:nvSpPr>
          <p:spPr bwMode="auto">
            <a:xfrm>
              <a:off x="3024188" y="2854325"/>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0256" name="AutoShape 15"/>
            <p:cNvSpPr>
              <a:spLocks noChangeArrowheads="1"/>
            </p:cNvSpPr>
            <p:nvPr/>
          </p:nvSpPr>
          <p:spPr bwMode="auto">
            <a:xfrm>
              <a:off x="4964113" y="2858644"/>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0257" name="AutoShape 16"/>
            <p:cNvSpPr>
              <a:spLocks noChangeArrowheads="1"/>
            </p:cNvSpPr>
            <p:nvPr/>
          </p:nvSpPr>
          <p:spPr bwMode="auto">
            <a:xfrm>
              <a:off x="3302001" y="3476624"/>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0258" name="AutoShape 17"/>
            <p:cNvSpPr>
              <a:spLocks noChangeArrowheads="1"/>
            </p:cNvSpPr>
            <p:nvPr/>
          </p:nvSpPr>
          <p:spPr bwMode="auto">
            <a:xfrm>
              <a:off x="5286375" y="3547268"/>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0259" name="AutoShape 18"/>
            <p:cNvSpPr>
              <a:spLocks noChangeArrowheads="1"/>
            </p:cNvSpPr>
            <p:nvPr/>
          </p:nvSpPr>
          <p:spPr bwMode="auto">
            <a:xfrm>
              <a:off x="2789238" y="3702049"/>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0260" name="AutoShape 19"/>
            <p:cNvSpPr>
              <a:spLocks noChangeArrowheads="1"/>
            </p:cNvSpPr>
            <p:nvPr/>
          </p:nvSpPr>
          <p:spPr bwMode="auto">
            <a:xfrm>
              <a:off x="5655981" y="3869529"/>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0261" name="AutoShape 20"/>
            <p:cNvSpPr>
              <a:spLocks noChangeArrowheads="1"/>
            </p:cNvSpPr>
            <p:nvPr/>
          </p:nvSpPr>
          <p:spPr bwMode="auto">
            <a:xfrm>
              <a:off x="2573338" y="4294187"/>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0262" name="AutoShape 22"/>
            <p:cNvSpPr>
              <a:spLocks noChangeArrowheads="1"/>
            </p:cNvSpPr>
            <p:nvPr/>
          </p:nvSpPr>
          <p:spPr bwMode="auto">
            <a:xfrm>
              <a:off x="3278189" y="4325130"/>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grpSp>
          <p:nvGrpSpPr>
            <p:cNvPr id="10263" name="Group 1037"/>
            <p:cNvGrpSpPr>
              <a:grpSpLocks/>
            </p:cNvGrpSpPr>
            <p:nvPr/>
          </p:nvGrpSpPr>
          <p:grpSpPr bwMode="auto">
            <a:xfrm>
              <a:off x="502964" y="1643118"/>
              <a:ext cx="1447800" cy="1143000"/>
              <a:chOff x="3844" y="1586"/>
              <a:chExt cx="755" cy="516"/>
            </a:xfrm>
          </p:grpSpPr>
          <p:sp>
            <p:nvSpPr>
              <p:cNvPr id="10278" name="Freeform 1038"/>
              <p:cNvSpPr>
                <a:spLocks/>
              </p:cNvSpPr>
              <p:nvPr/>
            </p:nvSpPr>
            <p:spPr bwMode="auto">
              <a:xfrm>
                <a:off x="3875" y="1594"/>
                <a:ext cx="724" cy="508"/>
              </a:xfrm>
              <a:custGeom>
                <a:avLst/>
                <a:gdLst>
                  <a:gd name="T0" fmla="*/ 0 w 2172"/>
                  <a:gd name="T1" fmla="*/ 0 h 1522"/>
                  <a:gd name="T2" fmla="*/ 0 w 2172"/>
                  <a:gd name="T3" fmla="*/ 0 h 1522"/>
                  <a:gd name="T4" fmla="*/ 0 w 2172"/>
                  <a:gd name="T5" fmla="*/ 0 h 1522"/>
                  <a:gd name="T6" fmla="*/ 0 w 2172"/>
                  <a:gd name="T7" fmla="*/ 0 h 1522"/>
                  <a:gd name="T8" fmla="*/ 0 w 2172"/>
                  <a:gd name="T9" fmla="*/ 0 h 1522"/>
                  <a:gd name="T10" fmla="*/ 0 w 2172"/>
                  <a:gd name="T11" fmla="*/ 0 h 1522"/>
                  <a:gd name="T12" fmla="*/ 0 w 2172"/>
                  <a:gd name="T13" fmla="*/ 0 h 1522"/>
                  <a:gd name="T14" fmla="*/ 0 w 2172"/>
                  <a:gd name="T15" fmla="*/ 0 h 1522"/>
                  <a:gd name="T16" fmla="*/ 0 w 2172"/>
                  <a:gd name="T17" fmla="*/ 0 h 1522"/>
                  <a:gd name="T18" fmla="*/ 0 w 2172"/>
                  <a:gd name="T19" fmla="*/ 0 h 1522"/>
                  <a:gd name="T20" fmla="*/ 0 w 2172"/>
                  <a:gd name="T21" fmla="*/ 0 h 1522"/>
                  <a:gd name="T22" fmla="*/ 0 w 2172"/>
                  <a:gd name="T23" fmla="*/ 0 h 1522"/>
                  <a:gd name="T24" fmla="*/ 0 w 2172"/>
                  <a:gd name="T25" fmla="*/ 0 h 1522"/>
                  <a:gd name="T26" fmla="*/ 0 w 2172"/>
                  <a:gd name="T27" fmla="*/ 0 h 1522"/>
                  <a:gd name="T28" fmla="*/ 0 w 2172"/>
                  <a:gd name="T29" fmla="*/ 0 h 1522"/>
                  <a:gd name="T30" fmla="*/ 0 w 2172"/>
                  <a:gd name="T31" fmla="*/ 0 h 1522"/>
                  <a:gd name="T32" fmla="*/ 0 w 2172"/>
                  <a:gd name="T33" fmla="*/ 0 h 1522"/>
                  <a:gd name="T34" fmla="*/ 0 w 2172"/>
                  <a:gd name="T35" fmla="*/ 0 h 1522"/>
                  <a:gd name="T36" fmla="*/ 0 w 2172"/>
                  <a:gd name="T37" fmla="*/ 0 h 1522"/>
                  <a:gd name="T38" fmla="*/ 0 w 2172"/>
                  <a:gd name="T39" fmla="*/ 0 h 1522"/>
                  <a:gd name="T40" fmla="*/ 0 w 2172"/>
                  <a:gd name="T41" fmla="*/ 0 h 1522"/>
                  <a:gd name="T42" fmla="*/ 0 w 2172"/>
                  <a:gd name="T43" fmla="*/ 0 h 1522"/>
                  <a:gd name="T44" fmla="*/ 0 w 2172"/>
                  <a:gd name="T45" fmla="*/ 0 h 1522"/>
                  <a:gd name="T46" fmla="*/ 0 w 2172"/>
                  <a:gd name="T47" fmla="*/ 0 h 1522"/>
                  <a:gd name="T48" fmla="*/ 0 w 2172"/>
                  <a:gd name="T49" fmla="*/ 0 h 1522"/>
                  <a:gd name="T50" fmla="*/ 0 w 2172"/>
                  <a:gd name="T51" fmla="*/ 0 h 1522"/>
                  <a:gd name="T52" fmla="*/ 0 w 2172"/>
                  <a:gd name="T53" fmla="*/ 0 h 1522"/>
                  <a:gd name="T54" fmla="*/ 0 w 2172"/>
                  <a:gd name="T55" fmla="*/ 0 h 1522"/>
                  <a:gd name="T56" fmla="*/ 0 w 2172"/>
                  <a:gd name="T57" fmla="*/ 0 h 1522"/>
                  <a:gd name="T58" fmla="*/ 0 w 2172"/>
                  <a:gd name="T59" fmla="*/ 0 h 1522"/>
                  <a:gd name="T60" fmla="*/ 0 w 2172"/>
                  <a:gd name="T61" fmla="*/ 0 h 1522"/>
                  <a:gd name="T62" fmla="*/ 0 w 2172"/>
                  <a:gd name="T63" fmla="*/ 0 h 1522"/>
                  <a:gd name="T64" fmla="*/ 0 w 2172"/>
                  <a:gd name="T65" fmla="*/ 0 h 1522"/>
                  <a:gd name="T66" fmla="*/ 0 w 2172"/>
                  <a:gd name="T67" fmla="*/ 0 h 1522"/>
                  <a:gd name="T68" fmla="*/ 0 w 2172"/>
                  <a:gd name="T69" fmla="*/ 0 h 1522"/>
                  <a:gd name="T70" fmla="*/ 0 w 2172"/>
                  <a:gd name="T71" fmla="*/ 0 h 1522"/>
                  <a:gd name="T72" fmla="*/ 0 w 2172"/>
                  <a:gd name="T73" fmla="*/ 0 h 1522"/>
                  <a:gd name="T74" fmla="*/ 0 w 2172"/>
                  <a:gd name="T75" fmla="*/ 0 h 1522"/>
                  <a:gd name="T76" fmla="*/ 0 w 2172"/>
                  <a:gd name="T77" fmla="*/ 0 h 1522"/>
                  <a:gd name="T78" fmla="*/ 0 w 2172"/>
                  <a:gd name="T79" fmla="*/ 0 h 1522"/>
                  <a:gd name="T80" fmla="*/ 0 w 2172"/>
                  <a:gd name="T81" fmla="*/ 0 h 1522"/>
                  <a:gd name="T82" fmla="*/ 0 w 2172"/>
                  <a:gd name="T83" fmla="*/ 0 h 1522"/>
                  <a:gd name="T84" fmla="*/ 0 w 2172"/>
                  <a:gd name="T85" fmla="*/ 0 h 1522"/>
                  <a:gd name="T86" fmla="*/ 0 w 2172"/>
                  <a:gd name="T87" fmla="*/ 0 h 1522"/>
                  <a:gd name="T88" fmla="*/ 0 w 2172"/>
                  <a:gd name="T89" fmla="*/ 0 h 1522"/>
                  <a:gd name="T90" fmla="*/ 0 w 2172"/>
                  <a:gd name="T91" fmla="*/ 0 h 1522"/>
                  <a:gd name="T92" fmla="*/ 0 w 2172"/>
                  <a:gd name="T93" fmla="*/ 0 h 1522"/>
                  <a:gd name="T94" fmla="*/ 0 w 2172"/>
                  <a:gd name="T95" fmla="*/ 0 h 152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72"/>
                  <a:gd name="T145" fmla="*/ 0 h 1522"/>
                  <a:gd name="T146" fmla="*/ 2172 w 2172"/>
                  <a:gd name="T147" fmla="*/ 1522 h 152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72" h="1522">
                    <a:moveTo>
                      <a:pt x="883" y="1339"/>
                    </a:moveTo>
                    <a:lnTo>
                      <a:pt x="883" y="1250"/>
                    </a:lnTo>
                    <a:lnTo>
                      <a:pt x="844" y="1216"/>
                    </a:lnTo>
                    <a:lnTo>
                      <a:pt x="831" y="1175"/>
                    </a:lnTo>
                    <a:lnTo>
                      <a:pt x="759" y="1160"/>
                    </a:lnTo>
                    <a:lnTo>
                      <a:pt x="765" y="1136"/>
                    </a:lnTo>
                    <a:lnTo>
                      <a:pt x="722" y="1112"/>
                    </a:lnTo>
                    <a:lnTo>
                      <a:pt x="673" y="1108"/>
                    </a:lnTo>
                    <a:lnTo>
                      <a:pt x="673" y="1084"/>
                    </a:lnTo>
                    <a:lnTo>
                      <a:pt x="660" y="1038"/>
                    </a:lnTo>
                    <a:lnTo>
                      <a:pt x="684" y="999"/>
                    </a:lnTo>
                    <a:lnTo>
                      <a:pt x="740" y="1005"/>
                    </a:lnTo>
                    <a:lnTo>
                      <a:pt x="783" y="973"/>
                    </a:lnTo>
                    <a:lnTo>
                      <a:pt x="826" y="973"/>
                    </a:lnTo>
                    <a:lnTo>
                      <a:pt x="872" y="958"/>
                    </a:lnTo>
                    <a:lnTo>
                      <a:pt x="963" y="921"/>
                    </a:lnTo>
                    <a:lnTo>
                      <a:pt x="1028" y="891"/>
                    </a:lnTo>
                    <a:lnTo>
                      <a:pt x="1091" y="901"/>
                    </a:lnTo>
                    <a:lnTo>
                      <a:pt x="1119" y="867"/>
                    </a:lnTo>
                    <a:lnTo>
                      <a:pt x="1169" y="863"/>
                    </a:lnTo>
                    <a:lnTo>
                      <a:pt x="1214" y="849"/>
                    </a:lnTo>
                    <a:lnTo>
                      <a:pt x="1293" y="836"/>
                    </a:lnTo>
                    <a:lnTo>
                      <a:pt x="1379" y="815"/>
                    </a:lnTo>
                    <a:lnTo>
                      <a:pt x="1416" y="784"/>
                    </a:lnTo>
                    <a:lnTo>
                      <a:pt x="1474" y="754"/>
                    </a:lnTo>
                    <a:lnTo>
                      <a:pt x="1529" y="751"/>
                    </a:lnTo>
                    <a:lnTo>
                      <a:pt x="1600" y="710"/>
                    </a:lnTo>
                    <a:lnTo>
                      <a:pt x="1686" y="669"/>
                    </a:lnTo>
                    <a:lnTo>
                      <a:pt x="1732" y="656"/>
                    </a:lnTo>
                    <a:lnTo>
                      <a:pt x="1771" y="625"/>
                    </a:lnTo>
                    <a:lnTo>
                      <a:pt x="1842" y="591"/>
                    </a:lnTo>
                    <a:lnTo>
                      <a:pt x="1875" y="539"/>
                    </a:lnTo>
                    <a:lnTo>
                      <a:pt x="1951" y="509"/>
                    </a:lnTo>
                    <a:lnTo>
                      <a:pt x="2001" y="441"/>
                    </a:lnTo>
                    <a:lnTo>
                      <a:pt x="2055" y="407"/>
                    </a:lnTo>
                    <a:lnTo>
                      <a:pt x="2096" y="350"/>
                    </a:lnTo>
                    <a:lnTo>
                      <a:pt x="2144" y="271"/>
                    </a:lnTo>
                    <a:lnTo>
                      <a:pt x="2172" y="187"/>
                    </a:lnTo>
                    <a:lnTo>
                      <a:pt x="2167" y="111"/>
                    </a:lnTo>
                    <a:lnTo>
                      <a:pt x="2144" y="11"/>
                    </a:lnTo>
                    <a:lnTo>
                      <a:pt x="2096" y="0"/>
                    </a:lnTo>
                    <a:lnTo>
                      <a:pt x="2049" y="29"/>
                    </a:lnTo>
                    <a:lnTo>
                      <a:pt x="1959" y="74"/>
                    </a:lnTo>
                    <a:lnTo>
                      <a:pt x="1899" y="92"/>
                    </a:lnTo>
                    <a:lnTo>
                      <a:pt x="1870" y="139"/>
                    </a:lnTo>
                    <a:lnTo>
                      <a:pt x="1762" y="176"/>
                    </a:lnTo>
                    <a:lnTo>
                      <a:pt x="1723" y="203"/>
                    </a:lnTo>
                    <a:lnTo>
                      <a:pt x="1665" y="210"/>
                    </a:lnTo>
                    <a:lnTo>
                      <a:pt x="1615" y="243"/>
                    </a:lnTo>
                    <a:lnTo>
                      <a:pt x="1558" y="246"/>
                    </a:lnTo>
                    <a:lnTo>
                      <a:pt x="1521" y="243"/>
                    </a:lnTo>
                    <a:lnTo>
                      <a:pt x="1466" y="289"/>
                    </a:lnTo>
                    <a:lnTo>
                      <a:pt x="1374" y="295"/>
                    </a:lnTo>
                    <a:lnTo>
                      <a:pt x="1331" y="309"/>
                    </a:lnTo>
                    <a:lnTo>
                      <a:pt x="1299" y="337"/>
                    </a:lnTo>
                    <a:lnTo>
                      <a:pt x="1270" y="322"/>
                    </a:lnTo>
                    <a:lnTo>
                      <a:pt x="1245" y="326"/>
                    </a:lnTo>
                    <a:lnTo>
                      <a:pt x="1229" y="332"/>
                    </a:lnTo>
                    <a:lnTo>
                      <a:pt x="1183" y="319"/>
                    </a:lnTo>
                    <a:lnTo>
                      <a:pt x="1149" y="337"/>
                    </a:lnTo>
                    <a:lnTo>
                      <a:pt x="1119" y="341"/>
                    </a:lnTo>
                    <a:lnTo>
                      <a:pt x="1080" y="361"/>
                    </a:lnTo>
                    <a:lnTo>
                      <a:pt x="1015" y="337"/>
                    </a:lnTo>
                    <a:lnTo>
                      <a:pt x="972" y="350"/>
                    </a:lnTo>
                    <a:lnTo>
                      <a:pt x="952" y="387"/>
                    </a:lnTo>
                    <a:lnTo>
                      <a:pt x="906" y="374"/>
                    </a:lnTo>
                    <a:lnTo>
                      <a:pt x="835" y="411"/>
                    </a:lnTo>
                    <a:lnTo>
                      <a:pt x="802" y="407"/>
                    </a:lnTo>
                    <a:lnTo>
                      <a:pt x="736" y="435"/>
                    </a:lnTo>
                    <a:lnTo>
                      <a:pt x="703" y="472"/>
                    </a:lnTo>
                    <a:lnTo>
                      <a:pt x="650" y="478"/>
                    </a:lnTo>
                    <a:lnTo>
                      <a:pt x="584" y="478"/>
                    </a:lnTo>
                    <a:lnTo>
                      <a:pt x="537" y="509"/>
                    </a:lnTo>
                    <a:lnTo>
                      <a:pt x="516" y="496"/>
                    </a:lnTo>
                    <a:lnTo>
                      <a:pt x="482" y="515"/>
                    </a:lnTo>
                    <a:lnTo>
                      <a:pt x="410" y="571"/>
                    </a:lnTo>
                    <a:lnTo>
                      <a:pt x="358" y="571"/>
                    </a:lnTo>
                    <a:lnTo>
                      <a:pt x="306" y="595"/>
                    </a:lnTo>
                    <a:lnTo>
                      <a:pt x="286" y="628"/>
                    </a:lnTo>
                    <a:lnTo>
                      <a:pt x="238" y="619"/>
                    </a:lnTo>
                    <a:lnTo>
                      <a:pt x="183" y="646"/>
                    </a:lnTo>
                    <a:lnTo>
                      <a:pt x="183" y="683"/>
                    </a:lnTo>
                    <a:lnTo>
                      <a:pt x="159" y="675"/>
                    </a:lnTo>
                    <a:lnTo>
                      <a:pt x="125" y="704"/>
                    </a:lnTo>
                    <a:lnTo>
                      <a:pt x="88" y="738"/>
                    </a:lnTo>
                    <a:lnTo>
                      <a:pt x="60" y="788"/>
                    </a:lnTo>
                    <a:lnTo>
                      <a:pt x="12" y="863"/>
                    </a:lnTo>
                    <a:lnTo>
                      <a:pt x="0" y="968"/>
                    </a:lnTo>
                    <a:lnTo>
                      <a:pt x="12" y="1071"/>
                    </a:lnTo>
                    <a:lnTo>
                      <a:pt x="153" y="1283"/>
                    </a:lnTo>
                    <a:lnTo>
                      <a:pt x="320" y="1448"/>
                    </a:lnTo>
                    <a:lnTo>
                      <a:pt x="529" y="1522"/>
                    </a:lnTo>
                    <a:lnTo>
                      <a:pt x="703" y="1479"/>
                    </a:lnTo>
                    <a:lnTo>
                      <a:pt x="820" y="1418"/>
                    </a:lnTo>
                    <a:lnTo>
                      <a:pt x="883" y="1339"/>
                    </a:lnTo>
                    <a:close/>
                  </a:path>
                </a:pathLst>
              </a:custGeom>
              <a:solidFill>
                <a:srgbClr val="FFDFA0"/>
              </a:solidFill>
              <a:ln w="9525">
                <a:noFill/>
                <a:round/>
                <a:headEnd/>
                <a:tailEnd/>
              </a:ln>
            </p:spPr>
            <p:txBody>
              <a:bodyPr/>
              <a:lstStyle/>
              <a:p>
                <a:endParaRPr lang="fr-FR"/>
              </a:p>
            </p:txBody>
          </p:sp>
          <p:sp>
            <p:nvSpPr>
              <p:cNvPr id="10279" name="Freeform 1039"/>
              <p:cNvSpPr>
                <a:spLocks/>
              </p:cNvSpPr>
              <p:nvPr/>
            </p:nvSpPr>
            <p:spPr bwMode="auto">
              <a:xfrm>
                <a:off x="3932" y="1749"/>
                <a:ext cx="211" cy="89"/>
              </a:xfrm>
              <a:custGeom>
                <a:avLst/>
                <a:gdLst>
                  <a:gd name="T0" fmla="*/ 0 w 632"/>
                  <a:gd name="T1" fmla="*/ 0 h 268"/>
                  <a:gd name="T2" fmla="*/ 0 w 632"/>
                  <a:gd name="T3" fmla="*/ 0 h 268"/>
                  <a:gd name="T4" fmla="*/ 0 w 632"/>
                  <a:gd name="T5" fmla="*/ 0 h 268"/>
                  <a:gd name="T6" fmla="*/ 0 w 632"/>
                  <a:gd name="T7" fmla="*/ 0 h 268"/>
                  <a:gd name="T8" fmla="*/ 0 w 632"/>
                  <a:gd name="T9" fmla="*/ 0 h 268"/>
                  <a:gd name="T10" fmla="*/ 0 w 632"/>
                  <a:gd name="T11" fmla="*/ 0 h 268"/>
                  <a:gd name="T12" fmla="*/ 0 w 632"/>
                  <a:gd name="T13" fmla="*/ 0 h 268"/>
                  <a:gd name="T14" fmla="*/ 0 w 632"/>
                  <a:gd name="T15" fmla="*/ 0 h 268"/>
                  <a:gd name="T16" fmla="*/ 0 w 632"/>
                  <a:gd name="T17" fmla="*/ 0 h 268"/>
                  <a:gd name="T18" fmla="*/ 0 w 632"/>
                  <a:gd name="T19" fmla="*/ 0 h 268"/>
                  <a:gd name="T20" fmla="*/ 0 w 632"/>
                  <a:gd name="T21" fmla="*/ 0 h 268"/>
                  <a:gd name="T22" fmla="*/ 0 w 632"/>
                  <a:gd name="T23" fmla="*/ 0 h 268"/>
                  <a:gd name="T24" fmla="*/ 0 w 632"/>
                  <a:gd name="T25" fmla="*/ 0 h 268"/>
                  <a:gd name="T26" fmla="*/ 0 w 632"/>
                  <a:gd name="T27" fmla="*/ 0 h 268"/>
                  <a:gd name="T28" fmla="*/ 0 w 632"/>
                  <a:gd name="T29" fmla="*/ 0 h 268"/>
                  <a:gd name="T30" fmla="*/ 0 w 632"/>
                  <a:gd name="T31" fmla="*/ 0 h 268"/>
                  <a:gd name="T32" fmla="*/ 0 w 632"/>
                  <a:gd name="T33" fmla="*/ 0 h 268"/>
                  <a:gd name="T34" fmla="*/ 0 w 632"/>
                  <a:gd name="T35" fmla="*/ 0 h 268"/>
                  <a:gd name="T36" fmla="*/ 0 w 632"/>
                  <a:gd name="T37" fmla="*/ 0 h 268"/>
                  <a:gd name="T38" fmla="*/ 0 w 632"/>
                  <a:gd name="T39" fmla="*/ 0 h 268"/>
                  <a:gd name="T40" fmla="*/ 0 w 632"/>
                  <a:gd name="T41" fmla="*/ 0 h 268"/>
                  <a:gd name="T42" fmla="*/ 0 w 632"/>
                  <a:gd name="T43" fmla="*/ 0 h 268"/>
                  <a:gd name="T44" fmla="*/ 0 w 632"/>
                  <a:gd name="T45" fmla="*/ 0 h 268"/>
                  <a:gd name="T46" fmla="*/ 0 w 632"/>
                  <a:gd name="T47" fmla="*/ 0 h 268"/>
                  <a:gd name="T48" fmla="*/ 0 w 632"/>
                  <a:gd name="T49" fmla="*/ 0 h 268"/>
                  <a:gd name="T50" fmla="*/ 0 w 632"/>
                  <a:gd name="T51" fmla="*/ 0 h 268"/>
                  <a:gd name="T52" fmla="*/ 0 w 632"/>
                  <a:gd name="T53" fmla="*/ 0 h 268"/>
                  <a:gd name="T54" fmla="*/ 0 w 632"/>
                  <a:gd name="T55" fmla="*/ 0 h 268"/>
                  <a:gd name="T56" fmla="*/ 0 w 632"/>
                  <a:gd name="T57" fmla="*/ 0 h 268"/>
                  <a:gd name="T58" fmla="*/ 0 w 632"/>
                  <a:gd name="T59" fmla="*/ 0 h 268"/>
                  <a:gd name="T60" fmla="*/ 0 w 632"/>
                  <a:gd name="T61" fmla="*/ 0 h 268"/>
                  <a:gd name="T62" fmla="*/ 0 w 632"/>
                  <a:gd name="T63" fmla="*/ 0 h 268"/>
                  <a:gd name="T64" fmla="*/ 0 w 632"/>
                  <a:gd name="T65" fmla="*/ 0 h 268"/>
                  <a:gd name="T66" fmla="*/ 0 w 632"/>
                  <a:gd name="T67" fmla="*/ 0 h 268"/>
                  <a:gd name="T68" fmla="*/ 0 w 632"/>
                  <a:gd name="T69" fmla="*/ 0 h 268"/>
                  <a:gd name="T70" fmla="*/ 0 w 632"/>
                  <a:gd name="T71" fmla="*/ 0 h 268"/>
                  <a:gd name="T72" fmla="*/ 0 w 632"/>
                  <a:gd name="T73" fmla="*/ 0 h 268"/>
                  <a:gd name="T74" fmla="*/ 0 w 632"/>
                  <a:gd name="T75" fmla="*/ 0 h 268"/>
                  <a:gd name="T76" fmla="*/ 0 w 632"/>
                  <a:gd name="T77" fmla="*/ 0 h 2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32"/>
                  <a:gd name="T118" fmla="*/ 0 h 268"/>
                  <a:gd name="T119" fmla="*/ 632 w 632"/>
                  <a:gd name="T120" fmla="*/ 268 h 26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32" h="268">
                    <a:moveTo>
                      <a:pt x="632" y="0"/>
                    </a:moveTo>
                    <a:lnTo>
                      <a:pt x="622" y="44"/>
                    </a:lnTo>
                    <a:lnTo>
                      <a:pt x="591" y="64"/>
                    </a:lnTo>
                    <a:lnTo>
                      <a:pt x="563" y="54"/>
                    </a:lnTo>
                    <a:lnTo>
                      <a:pt x="537" y="75"/>
                    </a:lnTo>
                    <a:lnTo>
                      <a:pt x="500" y="69"/>
                    </a:lnTo>
                    <a:lnTo>
                      <a:pt x="451" y="127"/>
                    </a:lnTo>
                    <a:lnTo>
                      <a:pt x="401" y="112"/>
                    </a:lnTo>
                    <a:lnTo>
                      <a:pt x="392" y="91"/>
                    </a:lnTo>
                    <a:lnTo>
                      <a:pt x="349" y="142"/>
                    </a:lnTo>
                    <a:lnTo>
                      <a:pt x="312" y="127"/>
                    </a:lnTo>
                    <a:lnTo>
                      <a:pt x="275" y="174"/>
                    </a:lnTo>
                    <a:lnTo>
                      <a:pt x="248" y="153"/>
                    </a:lnTo>
                    <a:lnTo>
                      <a:pt x="215" y="191"/>
                    </a:lnTo>
                    <a:lnTo>
                      <a:pt x="174" y="205"/>
                    </a:lnTo>
                    <a:lnTo>
                      <a:pt x="148" y="194"/>
                    </a:lnTo>
                    <a:lnTo>
                      <a:pt x="116" y="238"/>
                    </a:lnTo>
                    <a:lnTo>
                      <a:pt x="78" y="234"/>
                    </a:lnTo>
                    <a:lnTo>
                      <a:pt x="59" y="211"/>
                    </a:lnTo>
                    <a:lnTo>
                      <a:pt x="31" y="268"/>
                    </a:lnTo>
                    <a:lnTo>
                      <a:pt x="0" y="263"/>
                    </a:lnTo>
                    <a:lnTo>
                      <a:pt x="4" y="238"/>
                    </a:lnTo>
                    <a:lnTo>
                      <a:pt x="22" y="226"/>
                    </a:lnTo>
                    <a:lnTo>
                      <a:pt x="53" y="194"/>
                    </a:lnTo>
                    <a:lnTo>
                      <a:pt x="95" y="179"/>
                    </a:lnTo>
                    <a:lnTo>
                      <a:pt x="136" y="174"/>
                    </a:lnTo>
                    <a:lnTo>
                      <a:pt x="169" y="142"/>
                    </a:lnTo>
                    <a:lnTo>
                      <a:pt x="237" y="131"/>
                    </a:lnTo>
                    <a:lnTo>
                      <a:pt x="258" y="106"/>
                    </a:lnTo>
                    <a:lnTo>
                      <a:pt x="301" y="112"/>
                    </a:lnTo>
                    <a:lnTo>
                      <a:pt x="332" y="64"/>
                    </a:lnTo>
                    <a:lnTo>
                      <a:pt x="392" y="57"/>
                    </a:lnTo>
                    <a:lnTo>
                      <a:pt x="444" y="44"/>
                    </a:lnTo>
                    <a:lnTo>
                      <a:pt x="479" y="44"/>
                    </a:lnTo>
                    <a:lnTo>
                      <a:pt x="531" y="12"/>
                    </a:lnTo>
                    <a:lnTo>
                      <a:pt x="554" y="27"/>
                    </a:lnTo>
                    <a:lnTo>
                      <a:pt x="600" y="0"/>
                    </a:lnTo>
                    <a:lnTo>
                      <a:pt x="632" y="0"/>
                    </a:lnTo>
                    <a:close/>
                  </a:path>
                </a:pathLst>
              </a:custGeom>
              <a:solidFill>
                <a:srgbClr val="FFFFFF"/>
              </a:solidFill>
              <a:ln w="9525">
                <a:noFill/>
                <a:round/>
                <a:headEnd/>
                <a:tailEnd/>
              </a:ln>
            </p:spPr>
            <p:txBody>
              <a:bodyPr/>
              <a:lstStyle/>
              <a:p>
                <a:endParaRPr lang="fr-FR"/>
              </a:p>
            </p:txBody>
          </p:sp>
          <p:sp>
            <p:nvSpPr>
              <p:cNvPr id="10280" name="Freeform 1040"/>
              <p:cNvSpPr>
                <a:spLocks/>
              </p:cNvSpPr>
              <p:nvPr/>
            </p:nvSpPr>
            <p:spPr bwMode="auto">
              <a:xfrm>
                <a:off x="4369" y="1661"/>
                <a:ext cx="106" cy="49"/>
              </a:xfrm>
              <a:custGeom>
                <a:avLst/>
                <a:gdLst>
                  <a:gd name="T0" fmla="*/ 0 w 317"/>
                  <a:gd name="T1" fmla="*/ 0 h 147"/>
                  <a:gd name="T2" fmla="*/ 0 w 317"/>
                  <a:gd name="T3" fmla="*/ 0 h 147"/>
                  <a:gd name="T4" fmla="*/ 0 w 317"/>
                  <a:gd name="T5" fmla="*/ 0 h 147"/>
                  <a:gd name="T6" fmla="*/ 0 w 317"/>
                  <a:gd name="T7" fmla="*/ 0 h 147"/>
                  <a:gd name="T8" fmla="*/ 0 w 317"/>
                  <a:gd name="T9" fmla="*/ 0 h 147"/>
                  <a:gd name="T10" fmla="*/ 0 w 317"/>
                  <a:gd name="T11" fmla="*/ 0 h 147"/>
                  <a:gd name="T12" fmla="*/ 0 w 317"/>
                  <a:gd name="T13" fmla="*/ 0 h 147"/>
                  <a:gd name="T14" fmla="*/ 0 w 317"/>
                  <a:gd name="T15" fmla="*/ 0 h 147"/>
                  <a:gd name="T16" fmla="*/ 0 w 317"/>
                  <a:gd name="T17" fmla="*/ 0 h 147"/>
                  <a:gd name="T18" fmla="*/ 0 w 317"/>
                  <a:gd name="T19" fmla="*/ 0 h 147"/>
                  <a:gd name="T20" fmla="*/ 0 w 317"/>
                  <a:gd name="T21" fmla="*/ 0 h 147"/>
                  <a:gd name="T22" fmla="*/ 0 w 317"/>
                  <a:gd name="T23" fmla="*/ 0 h 147"/>
                  <a:gd name="T24" fmla="*/ 0 w 317"/>
                  <a:gd name="T25" fmla="*/ 0 h 147"/>
                  <a:gd name="T26" fmla="*/ 0 w 317"/>
                  <a:gd name="T27" fmla="*/ 0 h 147"/>
                  <a:gd name="T28" fmla="*/ 0 w 317"/>
                  <a:gd name="T29" fmla="*/ 0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7"/>
                  <a:gd name="T46" fmla="*/ 0 h 147"/>
                  <a:gd name="T47" fmla="*/ 317 w 317"/>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7" h="147">
                    <a:moveTo>
                      <a:pt x="43" y="95"/>
                    </a:moveTo>
                    <a:lnTo>
                      <a:pt x="0" y="120"/>
                    </a:lnTo>
                    <a:lnTo>
                      <a:pt x="0" y="147"/>
                    </a:lnTo>
                    <a:lnTo>
                      <a:pt x="64" y="130"/>
                    </a:lnTo>
                    <a:lnTo>
                      <a:pt x="106" y="95"/>
                    </a:lnTo>
                    <a:lnTo>
                      <a:pt x="175" y="95"/>
                    </a:lnTo>
                    <a:lnTo>
                      <a:pt x="223" y="58"/>
                    </a:lnTo>
                    <a:lnTo>
                      <a:pt x="285" y="29"/>
                    </a:lnTo>
                    <a:lnTo>
                      <a:pt x="317" y="0"/>
                    </a:lnTo>
                    <a:lnTo>
                      <a:pt x="205" y="40"/>
                    </a:lnTo>
                    <a:lnTo>
                      <a:pt x="186" y="62"/>
                    </a:lnTo>
                    <a:lnTo>
                      <a:pt x="131" y="68"/>
                    </a:lnTo>
                    <a:lnTo>
                      <a:pt x="83" y="87"/>
                    </a:lnTo>
                    <a:lnTo>
                      <a:pt x="43" y="95"/>
                    </a:lnTo>
                    <a:close/>
                  </a:path>
                </a:pathLst>
              </a:custGeom>
              <a:solidFill>
                <a:srgbClr val="FFFFFF"/>
              </a:solidFill>
              <a:ln w="9525">
                <a:noFill/>
                <a:round/>
                <a:headEnd/>
                <a:tailEnd/>
              </a:ln>
            </p:spPr>
            <p:txBody>
              <a:bodyPr/>
              <a:lstStyle/>
              <a:p>
                <a:endParaRPr lang="fr-FR"/>
              </a:p>
            </p:txBody>
          </p:sp>
          <p:sp>
            <p:nvSpPr>
              <p:cNvPr id="10281" name="Freeform 1041"/>
              <p:cNvSpPr>
                <a:spLocks/>
              </p:cNvSpPr>
              <p:nvPr/>
            </p:nvSpPr>
            <p:spPr bwMode="auto">
              <a:xfrm>
                <a:off x="3908" y="1842"/>
                <a:ext cx="10" cy="21"/>
              </a:xfrm>
              <a:custGeom>
                <a:avLst/>
                <a:gdLst>
                  <a:gd name="T0" fmla="*/ 0 w 31"/>
                  <a:gd name="T1" fmla="*/ 0 h 61"/>
                  <a:gd name="T2" fmla="*/ 0 w 31"/>
                  <a:gd name="T3" fmla="*/ 0 h 61"/>
                  <a:gd name="T4" fmla="*/ 0 w 31"/>
                  <a:gd name="T5" fmla="*/ 0 h 61"/>
                  <a:gd name="T6" fmla="*/ 0 w 31"/>
                  <a:gd name="T7" fmla="*/ 0 h 61"/>
                  <a:gd name="T8" fmla="*/ 0 w 31"/>
                  <a:gd name="T9" fmla="*/ 0 h 61"/>
                  <a:gd name="T10" fmla="*/ 0 w 31"/>
                  <a:gd name="T11" fmla="*/ 0 h 61"/>
                  <a:gd name="T12" fmla="*/ 0 60000 65536"/>
                  <a:gd name="T13" fmla="*/ 0 60000 65536"/>
                  <a:gd name="T14" fmla="*/ 0 60000 65536"/>
                  <a:gd name="T15" fmla="*/ 0 60000 65536"/>
                  <a:gd name="T16" fmla="*/ 0 60000 65536"/>
                  <a:gd name="T17" fmla="*/ 0 60000 65536"/>
                  <a:gd name="T18" fmla="*/ 0 w 31"/>
                  <a:gd name="T19" fmla="*/ 0 h 61"/>
                  <a:gd name="T20" fmla="*/ 31 w 31"/>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31" h="61">
                    <a:moveTo>
                      <a:pt x="25" y="0"/>
                    </a:moveTo>
                    <a:lnTo>
                      <a:pt x="0" y="21"/>
                    </a:lnTo>
                    <a:lnTo>
                      <a:pt x="6" y="61"/>
                    </a:lnTo>
                    <a:lnTo>
                      <a:pt x="31" y="53"/>
                    </a:lnTo>
                    <a:lnTo>
                      <a:pt x="25" y="0"/>
                    </a:lnTo>
                    <a:close/>
                  </a:path>
                </a:pathLst>
              </a:custGeom>
              <a:solidFill>
                <a:srgbClr val="FFFFFF"/>
              </a:solidFill>
              <a:ln w="9525">
                <a:noFill/>
                <a:round/>
                <a:headEnd/>
                <a:tailEnd/>
              </a:ln>
            </p:spPr>
            <p:txBody>
              <a:bodyPr/>
              <a:lstStyle/>
              <a:p>
                <a:endParaRPr lang="fr-FR"/>
              </a:p>
            </p:txBody>
          </p:sp>
          <p:sp>
            <p:nvSpPr>
              <p:cNvPr id="10282" name="Freeform 1042"/>
              <p:cNvSpPr>
                <a:spLocks/>
              </p:cNvSpPr>
              <p:nvPr/>
            </p:nvSpPr>
            <p:spPr bwMode="auto">
              <a:xfrm>
                <a:off x="3896" y="1870"/>
                <a:ext cx="7" cy="11"/>
              </a:xfrm>
              <a:custGeom>
                <a:avLst/>
                <a:gdLst>
                  <a:gd name="T0" fmla="*/ 0 w 22"/>
                  <a:gd name="T1" fmla="*/ 0 h 33"/>
                  <a:gd name="T2" fmla="*/ 0 w 22"/>
                  <a:gd name="T3" fmla="*/ 0 h 33"/>
                  <a:gd name="T4" fmla="*/ 0 w 22"/>
                  <a:gd name="T5" fmla="*/ 0 h 33"/>
                  <a:gd name="T6" fmla="*/ 0 w 22"/>
                  <a:gd name="T7" fmla="*/ 0 h 33"/>
                  <a:gd name="T8" fmla="*/ 0 w 22"/>
                  <a:gd name="T9" fmla="*/ 0 h 33"/>
                  <a:gd name="T10" fmla="*/ 0 w 22"/>
                  <a:gd name="T11" fmla="*/ 0 h 33"/>
                  <a:gd name="T12" fmla="*/ 0 60000 65536"/>
                  <a:gd name="T13" fmla="*/ 0 60000 65536"/>
                  <a:gd name="T14" fmla="*/ 0 60000 65536"/>
                  <a:gd name="T15" fmla="*/ 0 60000 65536"/>
                  <a:gd name="T16" fmla="*/ 0 60000 65536"/>
                  <a:gd name="T17" fmla="*/ 0 60000 65536"/>
                  <a:gd name="T18" fmla="*/ 0 w 22"/>
                  <a:gd name="T19" fmla="*/ 0 h 33"/>
                  <a:gd name="T20" fmla="*/ 22 w 2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2" h="33">
                    <a:moveTo>
                      <a:pt x="6" y="0"/>
                    </a:moveTo>
                    <a:lnTo>
                      <a:pt x="0" y="10"/>
                    </a:lnTo>
                    <a:lnTo>
                      <a:pt x="6" y="33"/>
                    </a:lnTo>
                    <a:lnTo>
                      <a:pt x="22" y="25"/>
                    </a:lnTo>
                    <a:lnTo>
                      <a:pt x="6" y="0"/>
                    </a:lnTo>
                    <a:close/>
                  </a:path>
                </a:pathLst>
              </a:custGeom>
              <a:solidFill>
                <a:srgbClr val="FFFFFF"/>
              </a:solidFill>
              <a:ln w="9525">
                <a:noFill/>
                <a:round/>
                <a:headEnd/>
                <a:tailEnd/>
              </a:ln>
            </p:spPr>
            <p:txBody>
              <a:bodyPr/>
              <a:lstStyle/>
              <a:p>
                <a:endParaRPr lang="fr-FR"/>
              </a:p>
            </p:txBody>
          </p:sp>
          <p:sp>
            <p:nvSpPr>
              <p:cNvPr id="10283" name="Freeform 1043"/>
              <p:cNvSpPr>
                <a:spLocks/>
              </p:cNvSpPr>
              <p:nvPr/>
            </p:nvSpPr>
            <p:spPr bwMode="auto">
              <a:xfrm>
                <a:off x="4515" y="1631"/>
                <a:ext cx="9" cy="9"/>
              </a:xfrm>
              <a:custGeom>
                <a:avLst/>
                <a:gdLst>
                  <a:gd name="T0" fmla="*/ 0 w 27"/>
                  <a:gd name="T1" fmla="*/ 0 h 27"/>
                  <a:gd name="T2" fmla="*/ 0 w 27"/>
                  <a:gd name="T3" fmla="*/ 0 h 27"/>
                  <a:gd name="T4" fmla="*/ 0 w 27"/>
                  <a:gd name="T5" fmla="*/ 0 h 27"/>
                  <a:gd name="T6" fmla="*/ 0 w 27"/>
                  <a:gd name="T7" fmla="*/ 0 h 27"/>
                  <a:gd name="T8" fmla="*/ 0 w 27"/>
                  <a:gd name="T9" fmla="*/ 0 h 27"/>
                  <a:gd name="T10" fmla="*/ 0 w 27"/>
                  <a:gd name="T11" fmla="*/ 0 h 27"/>
                  <a:gd name="T12" fmla="*/ 0 60000 65536"/>
                  <a:gd name="T13" fmla="*/ 0 60000 65536"/>
                  <a:gd name="T14" fmla="*/ 0 60000 65536"/>
                  <a:gd name="T15" fmla="*/ 0 60000 65536"/>
                  <a:gd name="T16" fmla="*/ 0 60000 65536"/>
                  <a:gd name="T17" fmla="*/ 0 60000 65536"/>
                  <a:gd name="T18" fmla="*/ 0 w 27"/>
                  <a:gd name="T19" fmla="*/ 0 h 27"/>
                  <a:gd name="T20" fmla="*/ 27 w 2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7" h="27">
                    <a:moveTo>
                      <a:pt x="27" y="0"/>
                    </a:moveTo>
                    <a:lnTo>
                      <a:pt x="3" y="0"/>
                    </a:lnTo>
                    <a:lnTo>
                      <a:pt x="0" y="27"/>
                    </a:lnTo>
                    <a:lnTo>
                      <a:pt x="27" y="11"/>
                    </a:lnTo>
                    <a:lnTo>
                      <a:pt x="27" y="0"/>
                    </a:lnTo>
                    <a:close/>
                  </a:path>
                </a:pathLst>
              </a:custGeom>
              <a:solidFill>
                <a:srgbClr val="FFFFFF"/>
              </a:solidFill>
              <a:ln w="9525">
                <a:noFill/>
                <a:round/>
                <a:headEnd/>
                <a:tailEnd/>
              </a:ln>
            </p:spPr>
            <p:txBody>
              <a:bodyPr/>
              <a:lstStyle/>
              <a:p>
                <a:endParaRPr lang="fr-FR"/>
              </a:p>
            </p:txBody>
          </p:sp>
          <p:sp>
            <p:nvSpPr>
              <p:cNvPr id="10284" name="Freeform 1044"/>
              <p:cNvSpPr>
                <a:spLocks/>
              </p:cNvSpPr>
              <p:nvPr/>
            </p:nvSpPr>
            <p:spPr bwMode="auto">
              <a:xfrm>
                <a:off x="3889" y="1650"/>
                <a:ext cx="655" cy="391"/>
              </a:xfrm>
              <a:custGeom>
                <a:avLst/>
                <a:gdLst>
                  <a:gd name="T0" fmla="*/ 0 w 1965"/>
                  <a:gd name="T1" fmla="*/ 0 h 1175"/>
                  <a:gd name="T2" fmla="*/ 0 w 1965"/>
                  <a:gd name="T3" fmla="*/ 0 h 1175"/>
                  <a:gd name="T4" fmla="*/ 0 w 1965"/>
                  <a:gd name="T5" fmla="*/ 0 h 1175"/>
                  <a:gd name="T6" fmla="*/ 0 w 1965"/>
                  <a:gd name="T7" fmla="*/ 0 h 1175"/>
                  <a:gd name="T8" fmla="*/ 0 w 1965"/>
                  <a:gd name="T9" fmla="*/ 0 h 1175"/>
                  <a:gd name="T10" fmla="*/ 0 w 1965"/>
                  <a:gd name="T11" fmla="*/ 0 h 1175"/>
                  <a:gd name="T12" fmla="*/ 0 w 1965"/>
                  <a:gd name="T13" fmla="*/ 0 h 1175"/>
                  <a:gd name="T14" fmla="*/ 0 w 1965"/>
                  <a:gd name="T15" fmla="*/ 0 h 1175"/>
                  <a:gd name="T16" fmla="*/ 0 w 1965"/>
                  <a:gd name="T17" fmla="*/ 0 h 1175"/>
                  <a:gd name="T18" fmla="*/ 0 w 1965"/>
                  <a:gd name="T19" fmla="*/ 0 h 1175"/>
                  <a:gd name="T20" fmla="*/ 0 w 1965"/>
                  <a:gd name="T21" fmla="*/ 0 h 1175"/>
                  <a:gd name="T22" fmla="*/ 0 w 1965"/>
                  <a:gd name="T23" fmla="*/ 0 h 1175"/>
                  <a:gd name="T24" fmla="*/ 0 w 1965"/>
                  <a:gd name="T25" fmla="*/ 0 h 1175"/>
                  <a:gd name="T26" fmla="*/ 0 w 1965"/>
                  <a:gd name="T27" fmla="*/ 0 h 1175"/>
                  <a:gd name="T28" fmla="*/ 0 w 1965"/>
                  <a:gd name="T29" fmla="*/ 0 h 1175"/>
                  <a:gd name="T30" fmla="*/ 0 w 1965"/>
                  <a:gd name="T31" fmla="*/ 0 h 1175"/>
                  <a:gd name="T32" fmla="*/ 0 w 1965"/>
                  <a:gd name="T33" fmla="*/ 0 h 1175"/>
                  <a:gd name="T34" fmla="*/ 0 w 1965"/>
                  <a:gd name="T35" fmla="*/ 0 h 1175"/>
                  <a:gd name="T36" fmla="*/ 0 w 1965"/>
                  <a:gd name="T37" fmla="*/ 0 h 1175"/>
                  <a:gd name="T38" fmla="*/ 0 w 1965"/>
                  <a:gd name="T39" fmla="*/ 0 h 1175"/>
                  <a:gd name="T40" fmla="*/ 0 w 1965"/>
                  <a:gd name="T41" fmla="*/ 0 h 1175"/>
                  <a:gd name="T42" fmla="*/ 0 w 1965"/>
                  <a:gd name="T43" fmla="*/ 0 h 1175"/>
                  <a:gd name="T44" fmla="*/ 0 w 1965"/>
                  <a:gd name="T45" fmla="*/ 0 h 1175"/>
                  <a:gd name="T46" fmla="*/ 0 w 1965"/>
                  <a:gd name="T47" fmla="*/ 0 h 1175"/>
                  <a:gd name="T48" fmla="*/ 0 w 1965"/>
                  <a:gd name="T49" fmla="*/ 0 h 1175"/>
                  <a:gd name="T50" fmla="*/ 0 w 1965"/>
                  <a:gd name="T51" fmla="*/ 0 h 1175"/>
                  <a:gd name="T52" fmla="*/ 0 w 1965"/>
                  <a:gd name="T53" fmla="*/ 0 h 1175"/>
                  <a:gd name="T54" fmla="*/ 0 w 1965"/>
                  <a:gd name="T55" fmla="*/ 0 h 1175"/>
                  <a:gd name="T56" fmla="*/ 0 w 1965"/>
                  <a:gd name="T57" fmla="*/ 0 h 1175"/>
                  <a:gd name="T58" fmla="*/ 0 w 1965"/>
                  <a:gd name="T59" fmla="*/ 0 h 1175"/>
                  <a:gd name="T60" fmla="*/ 0 w 1965"/>
                  <a:gd name="T61" fmla="*/ 0 h 1175"/>
                  <a:gd name="T62" fmla="*/ 0 w 1965"/>
                  <a:gd name="T63" fmla="*/ 0 h 1175"/>
                  <a:gd name="T64" fmla="*/ 0 w 1965"/>
                  <a:gd name="T65" fmla="*/ 0 h 1175"/>
                  <a:gd name="T66" fmla="*/ 0 w 1965"/>
                  <a:gd name="T67" fmla="*/ 0 h 1175"/>
                  <a:gd name="T68" fmla="*/ 0 w 1965"/>
                  <a:gd name="T69" fmla="*/ 0 h 1175"/>
                  <a:gd name="T70" fmla="*/ 0 w 1965"/>
                  <a:gd name="T71" fmla="*/ 0 h 1175"/>
                  <a:gd name="T72" fmla="*/ 0 w 1965"/>
                  <a:gd name="T73" fmla="*/ 0 h 1175"/>
                  <a:gd name="T74" fmla="*/ 0 w 1965"/>
                  <a:gd name="T75" fmla="*/ 0 h 1175"/>
                  <a:gd name="T76" fmla="*/ 0 w 1965"/>
                  <a:gd name="T77" fmla="*/ 0 h 1175"/>
                  <a:gd name="T78" fmla="*/ 0 w 1965"/>
                  <a:gd name="T79" fmla="*/ 0 h 1175"/>
                  <a:gd name="T80" fmla="*/ 0 w 1965"/>
                  <a:gd name="T81" fmla="*/ 0 h 1175"/>
                  <a:gd name="T82" fmla="*/ 0 w 1965"/>
                  <a:gd name="T83" fmla="*/ 0 h 11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965"/>
                  <a:gd name="T127" fmla="*/ 0 h 1175"/>
                  <a:gd name="T128" fmla="*/ 1965 w 1965"/>
                  <a:gd name="T129" fmla="*/ 1175 h 11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965" h="1175">
                    <a:moveTo>
                      <a:pt x="1965" y="0"/>
                    </a:moveTo>
                    <a:lnTo>
                      <a:pt x="1958" y="73"/>
                    </a:lnTo>
                    <a:lnTo>
                      <a:pt x="1926" y="143"/>
                    </a:lnTo>
                    <a:lnTo>
                      <a:pt x="1891" y="168"/>
                    </a:lnTo>
                    <a:lnTo>
                      <a:pt x="1854" y="217"/>
                    </a:lnTo>
                    <a:lnTo>
                      <a:pt x="1785" y="252"/>
                    </a:lnTo>
                    <a:lnTo>
                      <a:pt x="1710" y="288"/>
                    </a:lnTo>
                    <a:lnTo>
                      <a:pt x="1628" y="342"/>
                    </a:lnTo>
                    <a:lnTo>
                      <a:pt x="1543" y="399"/>
                    </a:lnTo>
                    <a:lnTo>
                      <a:pt x="1485" y="425"/>
                    </a:lnTo>
                    <a:lnTo>
                      <a:pt x="1411" y="454"/>
                    </a:lnTo>
                    <a:lnTo>
                      <a:pt x="1322" y="466"/>
                    </a:lnTo>
                    <a:lnTo>
                      <a:pt x="1280" y="498"/>
                    </a:lnTo>
                    <a:lnTo>
                      <a:pt x="1169" y="524"/>
                    </a:lnTo>
                    <a:lnTo>
                      <a:pt x="1096" y="551"/>
                    </a:lnTo>
                    <a:lnTo>
                      <a:pt x="1016" y="582"/>
                    </a:lnTo>
                    <a:lnTo>
                      <a:pt x="952" y="609"/>
                    </a:lnTo>
                    <a:lnTo>
                      <a:pt x="900" y="609"/>
                    </a:lnTo>
                    <a:lnTo>
                      <a:pt x="842" y="603"/>
                    </a:lnTo>
                    <a:lnTo>
                      <a:pt x="784" y="639"/>
                    </a:lnTo>
                    <a:lnTo>
                      <a:pt x="722" y="639"/>
                    </a:lnTo>
                    <a:lnTo>
                      <a:pt x="700" y="682"/>
                    </a:lnTo>
                    <a:lnTo>
                      <a:pt x="657" y="708"/>
                    </a:lnTo>
                    <a:lnTo>
                      <a:pt x="594" y="734"/>
                    </a:lnTo>
                    <a:lnTo>
                      <a:pt x="567" y="814"/>
                    </a:lnTo>
                    <a:lnTo>
                      <a:pt x="515" y="870"/>
                    </a:lnTo>
                    <a:lnTo>
                      <a:pt x="515" y="955"/>
                    </a:lnTo>
                    <a:lnTo>
                      <a:pt x="527" y="1007"/>
                    </a:lnTo>
                    <a:lnTo>
                      <a:pt x="489" y="1044"/>
                    </a:lnTo>
                    <a:lnTo>
                      <a:pt x="495" y="1105"/>
                    </a:lnTo>
                    <a:lnTo>
                      <a:pt x="453" y="1170"/>
                    </a:lnTo>
                    <a:lnTo>
                      <a:pt x="383" y="1175"/>
                    </a:lnTo>
                    <a:lnTo>
                      <a:pt x="346" y="1148"/>
                    </a:lnTo>
                    <a:lnTo>
                      <a:pt x="290" y="1148"/>
                    </a:lnTo>
                    <a:lnTo>
                      <a:pt x="264" y="1105"/>
                    </a:lnTo>
                    <a:lnTo>
                      <a:pt x="209" y="1105"/>
                    </a:lnTo>
                    <a:lnTo>
                      <a:pt x="199" y="1086"/>
                    </a:lnTo>
                    <a:lnTo>
                      <a:pt x="157" y="1080"/>
                    </a:lnTo>
                    <a:lnTo>
                      <a:pt x="146" y="1055"/>
                    </a:lnTo>
                    <a:lnTo>
                      <a:pt x="108" y="1038"/>
                    </a:lnTo>
                    <a:lnTo>
                      <a:pt x="83" y="997"/>
                    </a:lnTo>
                    <a:lnTo>
                      <a:pt x="46" y="982"/>
                    </a:lnTo>
                    <a:lnTo>
                      <a:pt x="9" y="913"/>
                    </a:lnTo>
                    <a:lnTo>
                      <a:pt x="0" y="866"/>
                    </a:lnTo>
                    <a:lnTo>
                      <a:pt x="16" y="818"/>
                    </a:lnTo>
                    <a:lnTo>
                      <a:pt x="52" y="746"/>
                    </a:lnTo>
                    <a:lnTo>
                      <a:pt x="108" y="698"/>
                    </a:lnTo>
                    <a:lnTo>
                      <a:pt x="184" y="704"/>
                    </a:lnTo>
                    <a:lnTo>
                      <a:pt x="279" y="667"/>
                    </a:lnTo>
                    <a:lnTo>
                      <a:pt x="312" y="667"/>
                    </a:lnTo>
                    <a:lnTo>
                      <a:pt x="358" y="631"/>
                    </a:lnTo>
                    <a:lnTo>
                      <a:pt x="416" y="624"/>
                    </a:lnTo>
                    <a:lnTo>
                      <a:pt x="447" y="594"/>
                    </a:lnTo>
                    <a:lnTo>
                      <a:pt x="468" y="594"/>
                    </a:lnTo>
                    <a:lnTo>
                      <a:pt x="515" y="551"/>
                    </a:lnTo>
                    <a:lnTo>
                      <a:pt x="567" y="545"/>
                    </a:lnTo>
                    <a:lnTo>
                      <a:pt x="602" y="509"/>
                    </a:lnTo>
                    <a:lnTo>
                      <a:pt x="657" y="503"/>
                    </a:lnTo>
                    <a:lnTo>
                      <a:pt x="674" y="489"/>
                    </a:lnTo>
                    <a:lnTo>
                      <a:pt x="759" y="477"/>
                    </a:lnTo>
                    <a:lnTo>
                      <a:pt x="805" y="454"/>
                    </a:lnTo>
                    <a:lnTo>
                      <a:pt x="830" y="410"/>
                    </a:lnTo>
                    <a:lnTo>
                      <a:pt x="830" y="342"/>
                    </a:lnTo>
                    <a:lnTo>
                      <a:pt x="853" y="278"/>
                    </a:lnTo>
                    <a:lnTo>
                      <a:pt x="900" y="246"/>
                    </a:lnTo>
                    <a:lnTo>
                      <a:pt x="985" y="232"/>
                    </a:lnTo>
                    <a:lnTo>
                      <a:pt x="1074" y="238"/>
                    </a:lnTo>
                    <a:lnTo>
                      <a:pt x="1107" y="238"/>
                    </a:lnTo>
                    <a:lnTo>
                      <a:pt x="1159" y="217"/>
                    </a:lnTo>
                    <a:lnTo>
                      <a:pt x="1236" y="232"/>
                    </a:lnTo>
                    <a:lnTo>
                      <a:pt x="1285" y="205"/>
                    </a:lnTo>
                    <a:lnTo>
                      <a:pt x="1355" y="195"/>
                    </a:lnTo>
                    <a:lnTo>
                      <a:pt x="1442" y="209"/>
                    </a:lnTo>
                    <a:lnTo>
                      <a:pt x="1479" y="238"/>
                    </a:lnTo>
                    <a:lnTo>
                      <a:pt x="1525" y="232"/>
                    </a:lnTo>
                    <a:lnTo>
                      <a:pt x="1558" y="205"/>
                    </a:lnTo>
                    <a:lnTo>
                      <a:pt x="1607" y="195"/>
                    </a:lnTo>
                    <a:lnTo>
                      <a:pt x="1647" y="163"/>
                    </a:lnTo>
                    <a:lnTo>
                      <a:pt x="1702" y="153"/>
                    </a:lnTo>
                    <a:lnTo>
                      <a:pt x="1742" y="120"/>
                    </a:lnTo>
                    <a:lnTo>
                      <a:pt x="1802" y="105"/>
                    </a:lnTo>
                    <a:lnTo>
                      <a:pt x="1880" y="58"/>
                    </a:lnTo>
                    <a:lnTo>
                      <a:pt x="1922" y="10"/>
                    </a:lnTo>
                    <a:lnTo>
                      <a:pt x="1965" y="0"/>
                    </a:lnTo>
                    <a:close/>
                  </a:path>
                </a:pathLst>
              </a:custGeom>
              <a:solidFill>
                <a:srgbClr val="515151"/>
              </a:solidFill>
              <a:ln w="9525">
                <a:noFill/>
                <a:round/>
                <a:headEnd/>
                <a:tailEnd/>
              </a:ln>
            </p:spPr>
            <p:txBody>
              <a:bodyPr/>
              <a:lstStyle/>
              <a:p>
                <a:endParaRPr lang="fr-FR"/>
              </a:p>
            </p:txBody>
          </p:sp>
          <p:sp>
            <p:nvSpPr>
              <p:cNvPr id="10285" name="Freeform 1045"/>
              <p:cNvSpPr>
                <a:spLocks/>
              </p:cNvSpPr>
              <p:nvPr/>
            </p:nvSpPr>
            <p:spPr bwMode="auto">
              <a:xfrm>
                <a:off x="3845" y="1686"/>
                <a:ext cx="653" cy="294"/>
              </a:xfrm>
              <a:custGeom>
                <a:avLst/>
                <a:gdLst>
                  <a:gd name="T0" fmla="*/ 0 w 1959"/>
                  <a:gd name="T1" fmla="*/ 0 h 881"/>
                  <a:gd name="T2" fmla="*/ 0 w 1959"/>
                  <a:gd name="T3" fmla="*/ 0 h 881"/>
                  <a:gd name="T4" fmla="*/ 0 w 1959"/>
                  <a:gd name="T5" fmla="*/ 0 h 881"/>
                  <a:gd name="T6" fmla="*/ 0 w 1959"/>
                  <a:gd name="T7" fmla="*/ 0 h 881"/>
                  <a:gd name="T8" fmla="*/ 0 w 1959"/>
                  <a:gd name="T9" fmla="*/ 0 h 881"/>
                  <a:gd name="T10" fmla="*/ 0 w 1959"/>
                  <a:gd name="T11" fmla="*/ 0 h 881"/>
                  <a:gd name="T12" fmla="*/ 0 w 1959"/>
                  <a:gd name="T13" fmla="*/ 0 h 881"/>
                  <a:gd name="T14" fmla="*/ 0 w 1959"/>
                  <a:gd name="T15" fmla="*/ 0 h 881"/>
                  <a:gd name="T16" fmla="*/ 0 w 1959"/>
                  <a:gd name="T17" fmla="*/ 0 h 881"/>
                  <a:gd name="T18" fmla="*/ 0 w 1959"/>
                  <a:gd name="T19" fmla="*/ 0 h 881"/>
                  <a:gd name="T20" fmla="*/ 0 w 1959"/>
                  <a:gd name="T21" fmla="*/ 0 h 881"/>
                  <a:gd name="T22" fmla="*/ 0 w 1959"/>
                  <a:gd name="T23" fmla="*/ 0 h 881"/>
                  <a:gd name="T24" fmla="*/ 0 w 1959"/>
                  <a:gd name="T25" fmla="*/ 0 h 881"/>
                  <a:gd name="T26" fmla="*/ 0 w 1959"/>
                  <a:gd name="T27" fmla="*/ 0 h 881"/>
                  <a:gd name="T28" fmla="*/ 0 w 1959"/>
                  <a:gd name="T29" fmla="*/ 0 h 881"/>
                  <a:gd name="T30" fmla="*/ 0 w 1959"/>
                  <a:gd name="T31" fmla="*/ 0 h 881"/>
                  <a:gd name="T32" fmla="*/ 0 w 1959"/>
                  <a:gd name="T33" fmla="*/ 0 h 881"/>
                  <a:gd name="T34" fmla="*/ 0 w 1959"/>
                  <a:gd name="T35" fmla="*/ 0 h 881"/>
                  <a:gd name="T36" fmla="*/ 0 w 1959"/>
                  <a:gd name="T37" fmla="*/ 0 h 881"/>
                  <a:gd name="T38" fmla="*/ 0 w 1959"/>
                  <a:gd name="T39" fmla="*/ 0 h 881"/>
                  <a:gd name="T40" fmla="*/ 0 w 1959"/>
                  <a:gd name="T41" fmla="*/ 0 h 881"/>
                  <a:gd name="T42" fmla="*/ 0 w 1959"/>
                  <a:gd name="T43" fmla="*/ 0 h 881"/>
                  <a:gd name="T44" fmla="*/ 0 w 1959"/>
                  <a:gd name="T45" fmla="*/ 0 h 881"/>
                  <a:gd name="T46" fmla="*/ 0 w 1959"/>
                  <a:gd name="T47" fmla="*/ 0 h 881"/>
                  <a:gd name="T48" fmla="*/ 0 w 1959"/>
                  <a:gd name="T49" fmla="*/ 0 h 881"/>
                  <a:gd name="T50" fmla="*/ 0 w 1959"/>
                  <a:gd name="T51" fmla="*/ 0 h 881"/>
                  <a:gd name="T52" fmla="*/ 0 w 1959"/>
                  <a:gd name="T53" fmla="*/ 0 h 881"/>
                  <a:gd name="T54" fmla="*/ 0 w 1959"/>
                  <a:gd name="T55" fmla="*/ 0 h 881"/>
                  <a:gd name="T56" fmla="*/ 0 w 1959"/>
                  <a:gd name="T57" fmla="*/ 0 h 881"/>
                  <a:gd name="T58" fmla="*/ 0 w 1959"/>
                  <a:gd name="T59" fmla="*/ 0 h 881"/>
                  <a:gd name="T60" fmla="*/ 0 w 1959"/>
                  <a:gd name="T61" fmla="*/ 0 h 881"/>
                  <a:gd name="T62" fmla="*/ 0 w 1959"/>
                  <a:gd name="T63" fmla="*/ 0 h 881"/>
                  <a:gd name="T64" fmla="*/ 0 w 1959"/>
                  <a:gd name="T65" fmla="*/ 0 h 881"/>
                  <a:gd name="T66" fmla="*/ 0 w 1959"/>
                  <a:gd name="T67" fmla="*/ 0 h 881"/>
                  <a:gd name="T68" fmla="*/ 0 w 1959"/>
                  <a:gd name="T69" fmla="*/ 0 h 881"/>
                  <a:gd name="T70" fmla="*/ 0 w 1959"/>
                  <a:gd name="T71" fmla="*/ 0 h 881"/>
                  <a:gd name="T72" fmla="*/ 0 w 1959"/>
                  <a:gd name="T73" fmla="*/ 0 h 881"/>
                  <a:gd name="T74" fmla="*/ 0 w 1959"/>
                  <a:gd name="T75" fmla="*/ 0 h 881"/>
                  <a:gd name="T76" fmla="*/ 0 w 1959"/>
                  <a:gd name="T77" fmla="*/ 0 h 881"/>
                  <a:gd name="T78" fmla="*/ 0 w 1959"/>
                  <a:gd name="T79" fmla="*/ 0 h 881"/>
                  <a:gd name="T80" fmla="*/ 0 w 1959"/>
                  <a:gd name="T81" fmla="*/ 0 h 881"/>
                  <a:gd name="T82" fmla="*/ 0 w 1959"/>
                  <a:gd name="T83" fmla="*/ 0 h 881"/>
                  <a:gd name="T84" fmla="*/ 0 w 1959"/>
                  <a:gd name="T85" fmla="*/ 0 h 881"/>
                  <a:gd name="T86" fmla="*/ 0 w 1959"/>
                  <a:gd name="T87" fmla="*/ 0 h 881"/>
                  <a:gd name="T88" fmla="*/ 0 w 1959"/>
                  <a:gd name="T89" fmla="*/ 0 h 8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59"/>
                  <a:gd name="T136" fmla="*/ 0 h 881"/>
                  <a:gd name="T137" fmla="*/ 1959 w 1959"/>
                  <a:gd name="T138" fmla="*/ 881 h 8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59" h="881">
                    <a:moveTo>
                      <a:pt x="0" y="750"/>
                    </a:moveTo>
                    <a:lnTo>
                      <a:pt x="148" y="713"/>
                    </a:lnTo>
                    <a:lnTo>
                      <a:pt x="227" y="682"/>
                    </a:lnTo>
                    <a:lnTo>
                      <a:pt x="238" y="640"/>
                    </a:lnTo>
                    <a:lnTo>
                      <a:pt x="252" y="671"/>
                    </a:lnTo>
                    <a:lnTo>
                      <a:pt x="337" y="646"/>
                    </a:lnTo>
                    <a:lnTo>
                      <a:pt x="447" y="594"/>
                    </a:lnTo>
                    <a:lnTo>
                      <a:pt x="569" y="536"/>
                    </a:lnTo>
                    <a:lnTo>
                      <a:pt x="616" y="509"/>
                    </a:lnTo>
                    <a:lnTo>
                      <a:pt x="673" y="468"/>
                    </a:lnTo>
                    <a:lnTo>
                      <a:pt x="769" y="429"/>
                    </a:lnTo>
                    <a:lnTo>
                      <a:pt x="873" y="393"/>
                    </a:lnTo>
                    <a:lnTo>
                      <a:pt x="991" y="362"/>
                    </a:lnTo>
                    <a:lnTo>
                      <a:pt x="1028" y="300"/>
                    </a:lnTo>
                    <a:lnTo>
                      <a:pt x="1037" y="330"/>
                    </a:lnTo>
                    <a:lnTo>
                      <a:pt x="1143" y="309"/>
                    </a:lnTo>
                    <a:lnTo>
                      <a:pt x="1347" y="267"/>
                    </a:lnTo>
                    <a:lnTo>
                      <a:pt x="1494" y="209"/>
                    </a:lnTo>
                    <a:lnTo>
                      <a:pt x="1654" y="157"/>
                    </a:lnTo>
                    <a:lnTo>
                      <a:pt x="1797" y="95"/>
                    </a:lnTo>
                    <a:lnTo>
                      <a:pt x="1868" y="70"/>
                    </a:lnTo>
                    <a:lnTo>
                      <a:pt x="1959" y="0"/>
                    </a:lnTo>
                    <a:lnTo>
                      <a:pt x="1834" y="116"/>
                    </a:lnTo>
                    <a:lnTo>
                      <a:pt x="1790" y="136"/>
                    </a:lnTo>
                    <a:lnTo>
                      <a:pt x="1790" y="153"/>
                    </a:lnTo>
                    <a:lnTo>
                      <a:pt x="1749" y="168"/>
                    </a:lnTo>
                    <a:lnTo>
                      <a:pt x="1686" y="200"/>
                    </a:lnTo>
                    <a:lnTo>
                      <a:pt x="1686" y="226"/>
                    </a:lnTo>
                    <a:lnTo>
                      <a:pt x="1644" y="205"/>
                    </a:lnTo>
                    <a:lnTo>
                      <a:pt x="1558" y="232"/>
                    </a:lnTo>
                    <a:lnTo>
                      <a:pt x="1558" y="263"/>
                    </a:lnTo>
                    <a:lnTo>
                      <a:pt x="1490" y="252"/>
                    </a:lnTo>
                    <a:lnTo>
                      <a:pt x="1438" y="289"/>
                    </a:lnTo>
                    <a:lnTo>
                      <a:pt x="1438" y="309"/>
                    </a:lnTo>
                    <a:lnTo>
                      <a:pt x="1396" y="309"/>
                    </a:lnTo>
                    <a:lnTo>
                      <a:pt x="1295" y="327"/>
                    </a:lnTo>
                    <a:lnTo>
                      <a:pt x="1295" y="373"/>
                    </a:lnTo>
                    <a:lnTo>
                      <a:pt x="1246" y="341"/>
                    </a:lnTo>
                    <a:lnTo>
                      <a:pt x="1072" y="388"/>
                    </a:lnTo>
                    <a:lnTo>
                      <a:pt x="1090" y="441"/>
                    </a:lnTo>
                    <a:lnTo>
                      <a:pt x="1028" y="388"/>
                    </a:lnTo>
                    <a:lnTo>
                      <a:pt x="970" y="422"/>
                    </a:lnTo>
                    <a:lnTo>
                      <a:pt x="980" y="456"/>
                    </a:lnTo>
                    <a:lnTo>
                      <a:pt x="921" y="435"/>
                    </a:lnTo>
                    <a:lnTo>
                      <a:pt x="863" y="441"/>
                    </a:lnTo>
                    <a:lnTo>
                      <a:pt x="806" y="468"/>
                    </a:lnTo>
                    <a:lnTo>
                      <a:pt x="794" y="509"/>
                    </a:lnTo>
                    <a:lnTo>
                      <a:pt x="811" y="524"/>
                    </a:lnTo>
                    <a:lnTo>
                      <a:pt x="806" y="557"/>
                    </a:lnTo>
                    <a:lnTo>
                      <a:pt x="774" y="524"/>
                    </a:lnTo>
                    <a:lnTo>
                      <a:pt x="747" y="499"/>
                    </a:lnTo>
                    <a:lnTo>
                      <a:pt x="685" y="514"/>
                    </a:lnTo>
                    <a:lnTo>
                      <a:pt x="655" y="541"/>
                    </a:lnTo>
                    <a:lnTo>
                      <a:pt x="670" y="588"/>
                    </a:lnTo>
                    <a:lnTo>
                      <a:pt x="685" y="631"/>
                    </a:lnTo>
                    <a:lnTo>
                      <a:pt x="647" y="584"/>
                    </a:lnTo>
                    <a:lnTo>
                      <a:pt x="627" y="598"/>
                    </a:lnTo>
                    <a:lnTo>
                      <a:pt x="616" y="624"/>
                    </a:lnTo>
                    <a:lnTo>
                      <a:pt x="621" y="661"/>
                    </a:lnTo>
                    <a:lnTo>
                      <a:pt x="600" y="665"/>
                    </a:lnTo>
                    <a:lnTo>
                      <a:pt x="564" y="723"/>
                    </a:lnTo>
                    <a:lnTo>
                      <a:pt x="526" y="766"/>
                    </a:lnTo>
                    <a:lnTo>
                      <a:pt x="496" y="796"/>
                    </a:lnTo>
                    <a:lnTo>
                      <a:pt x="490" y="823"/>
                    </a:lnTo>
                    <a:lnTo>
                      <a:pt x="474" y="793"/>
                    </a:lnTo>
                    <a:lnTo>
                      <a:pt x="416" y="818"/>
                    </a:lnTo>
                    <a:lnTo>
                      <a:pt x="399" y="876"/>
                    </a:lnTo>
                    <a:lnTo>
                      <a:pt x="389" y="830"/>
                    </a:lnTo>
                    <a:lnTo>
                      <a:pt x="285" y="850"/>
                    </a:lnTo>
                    <a:lnTo>
                      <a:pt x="221" y="833"/>
                    </a:lnTo>
                    <a:lnTo>
                      <a:pt x="175" y="881"/>
                    </a:lnTo>
                    <a:lnTo>
                      <a:pt x="132" y="830"/>
                    </a:lnTo>
                    <a:lnTo>
                      <a:pt x="178" y="786"/>
                    </a:lnTo>
                    <a:lnTo>
                      <a:pt x="233" y="719"/>
                    </a:lnTo>
                    <a:lnTo>
                      <a:pt x="248" y="713"/>
                    </a:lnTo>
                    <a:lnTo>
                      <a:pt x="238" y="803"/>
                    </a:lnTo>
                    <a:lnTo>
                      <a:pt x="300" y="818"/>
                    </a:lnTo>
                    <a:lnTo>
                      <a:pt x="389" y="803"/>
                    </a:lnTo>
                    <a:lnTo>
                      <a:pt x="459" y="766"/>
                    </a:lnTo>
                    <a:lnTo>
                      <a:pt x="437" y="746"/>
                    </a:lnTo>
                    <a:lnTo>
                      <a:pt x="496" y="741"/>
                    </a:lnTo>
                    <a:lnTo>
                      <a:pt x="521" y="723"/>
                    </a:lnTo>
                    <a:lnTo>
                      <a:pt x="558" y="671"/>
                    </a:lnTo>
                    <a:lnTo>
                      <a:pt x="575" y="631"/>
                    </a:lnTo>
                    <a:lnTo>
                      <a:pt x="575" y="572"/>
                    </a:lnTo>
                    <a:lnTo>
                      <a:pt x="463" y="613"/>
                    </a:lnTo>
                    <a:lnTo>
                      <a:pt x="285" y="682"/>
                    </a:lnTo>
                    <a:lnTo>
                      <a:pt x="196" y="713"/>
                    </a:lnTo>
                    <a:lnTo>
                      <a:pt x="4" y="772"/>
                    </a:lnTo>
                    <a:lnTo>
                      <a:pt x="0" y="750"/>
                    </a:lnTo>
                    <a:close/>
                  </a:path>
                </a:pathLst>
              </a:custGeom>
              <a:solidFill>
                <a:srgbClr val="FFFFFF"/>
              </a:solidFill>
              <a:ln w="9525">
                <a:noFill/>
                <a:round/>
                <a:headEnd/>
                <a:tailEnd/>
              </a:ln>
            </p:spPr>
            <p:txBody>
              <a:bodyPr/>
              <a:lstStyle/>
              <a:p>
                <a:endParaRPr lang="fr-FR"/>
              </a:p>
            </p:txBody>
          </p:sp>
          <p:sp>
            <p:nvSpPr>
              <p:cNvPr id="10286" name="Freeform 1046"/>
              <p:cNvSpPr>
                <a:spLocks/>
              </p:cNvSpPr>
              <p:nvPr/>
            </p:nvSpPr>
            <p:spPr bwMode="auto">
              <a:xfrm>
                <a:off x="3858" y="1835"/>
                <a:ext cx="43" cy="96"/>
              </a:xfrm>
              <a:custGeom>
                <a:avLst/>
                <a:gdLst>
                  <a:gd name="T0" fmla="*/ 0 w 127"/>
                  <a:gd name="T1" fmla="*/ 0 h 288"/>
                  <a:gd name="T2" fmla="*/ 0 w 127"/>
                  <a:gd name="T3" fmla="*/ 0 h 288"/>
                  <a:gd name="T4" fmla="*/ 0 w 127"/>
                  <a:gd name="T5" fmla="*/ 0 h 288"/>
                  <a:gd name="T6" fmla="*/ 0 w 127"/>
                  <a:gd name="T7" fmla="*/ 0 h 288"/>
                  <a:gd name="T8" fmla="*/ 0 w 127"/>
                  <a:gd name="T9" fmla="*/ 0 h 288"/>
                  <a:gd name="T10" fmla="*/ 0 w 127"/>
                  <a:gd name="T11" fmla="*/ 0 h 288"/>
                  <a:gd name="T12" fmla="*/ 0 w 127"/>
                  <a:gd name="T13" fmla="*/ 0 h 288"/>
                  <a:gd name="T14" fmla="*/ 0 w 127"/>
                  <a:gd name="T15" fmla="*/ 0 h 288"/>
                  <a:gd name="T16" fmla="*/ 0 w 127"/>
                  <a:gd name="T17" fmla="*/ 0 h 288"/>
                  <a:gd name="T18" fmla="*/ 0 w 127"/>
                  <a:gd name="T19" fmla="*/ 0 h 288"/>
                  <a:gd name="T20" fmla="*/ 0 w 127"/>
                  <a:gd name="T21" fmla="*/ 0 h 288"/>
                  <a:gd name="T22" fmla="*/ 0 w 127"/>
                  <a:gd name="T23" fmla="*/ 0 h 28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7"/>
                  <a:gd name="T37" fmla="*/ 0 h 288"/>
                  <a:gd name="T38" fmla="*/ 127 w 127"/>
                  <a:gd name="T39" fmla="*/ 288 h 28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7" h="288">
                    <a:moveTo>
                      <a:pt x="127" y="37"/>
                    </a:moveTo>
                    <a:lnTo>
                      <a:pt x="79" y="125"/>
                    </a:lnTo>
                    <a:lnTo>
                      <a:pt x="64" y="199"/>
                    </a:lnTo>
                    <a:lnTo>
                      <a:pt x="64" y="272"/>
                    </a:lnTo>
                    <a:lnTo>
                      <a:pt x="17" y="288"/>
                    </a:lnTo>
                    <a:lnTo>
                      <a:pt x="0" y="247"/>
                    </a:lnTo>
                    <a:lnTo>
                      <a:pt x="8" y="193"/>
                    </a:lnTo>
                    <a:lnTo>
                      <a:pt x="33" y="110"/>
                    </a:lnTo>
                    <a:lnTo>
                      <a:pt x="58" y="52"/>
                    </a:lnTo>
                    <a:lnTo>
                      <a:pt x="96" y="0"/>
                    </a:lnTo>
                    <a:lnTo>
                      <a:pt x="127" y="37"/>
                    </a:lnTo>
                    <a:close/>
                  </a:path>
                </a:pathLst>
              </a:custGeom>
              <a:solidFill>
                <a:srgbClr val="FFA9A9"/>
              </a:solidFill>
              <a:ln w="9525">
                <a:noFill/>
                <a:round/>
                <a:headEnd/>
                <a:tailEnd/>
              </a:ln>
            </p:spPr>
            <p:txBody>
              <a:bodyPr/>
              <a:lstStyle/>
              <a:p>
                <a:endParaRPr lang="fr-FR"/>
              </a:p>
            </p:txBody>
          </p:sp>
          <p:sp>
            <p:nvSpPr>
              <p:cNvPr id="10287" name="Freeform 1047"/>
              <p:cNvSpPr>
                <a:spLocks/>
              </p:cNvSpPr>
              <p:nvPr/>
            </p:nvSpPr>
            <p:spPr bwMode="auto">
              <a:xfrm>
                <a:off x="3844" y="1872"/>
                <a:ext cx="196" cy="75"/>
              </a:xfrm>
              <a:custGeom>
                <a:avLst/>
                <a:gdLst>
                  <a:gd name="T0" fmla="*/ 0 w 587"/>
                  <a:gd name="T1" fmla="*/ 0 h 224"/>
                  <a:gd name="T2" fmla="*/ 0 w 587"/>
                  <a:gd name="T3" fmla="*/ 0 h 224"/>
                  <a:gd name="T4" fmla="*/ 0 w 587"/>
                  <a:gd name="T5" fmla="*/ 0 h 224"/>
                  <a:gd name="T6" fmla="*/ 0 w 587"/>
                  <a:gd name="T7" fmla="*/ 0 h 224"/>
                  <a:gd name="T8" fmla="*/ 0 w 587"/>
                  <a:gd name="T9" fmla="*/ 0 h 224"/>
                  <a:gd name="T10" fmla="*/ 0 w 587"/>
                  <a:gd name="T11" fmla="*/ 0 h 224"/>
                  <a:gd name="T12" fmla="*/ 0 w 587"/>
                  <a:gd name="T13" fmla="*/ 0 h 224"/>
                  <a:gd name="T14" fmla="*/ 0 w 587"/>
                  <a:gd name="T15" fmla="*/ 0 h 224"/>
                  <a:gd name="T16" fmla="*/ 0 w 587"/>
                  <a:gd name="T17" fmla="*/ 0 h 224"/>
                  <a:gd name="T18" fmla="*/ 0 w 587"/>
                  <a:gd name="T19" fmla="*/ 0 h 224"/>
                  <a:gd name="T20" fmla="*/ 0 w 587"/>
                  <a:gd name="T21" fmla="*/ 0 h 224"/>
                  <a:gd name="T22" fmla="*/ 0 w 587"/>
                  <a:gd name="T23" fmla="*/ 0 h 224"/>
                  <a:gd name="T24" fmla="*/ 0 w 587"/>
                  <a:gd name="T25" fmla="*/ 0 h 224"/>
                  <a:gd name="T26" fmla="*/ 0 w 587"/>
                  <a:gd name="T27" fmla="*/ 0 h 224"/>
                  <a:gd name="T28" fmla="*/ 0 w 587"/>
                  <a:gd name="T29" fmla="*/ 0 h 224"/>
                  <a:gd name="T30" fmla="*/ 0 w 587"/>
                  <a:gd name="T31" fmla="*/ 0 h 224"/>
                  <a:gd name="T32" fmla="*/ 0 w 587"/>
                  <a:gd name="T33" fmla="*/ 0 h 224"/>
                  <a:gd name="T34" fmla="*/ 0 w 587"/>
                  <a:gd name="T35" fmla="*/ 0 h 224"/>
                  <a:gd name="T36" fmla="*/ 0 w 587"/>
                  <a:gd name="T37" fmla="*/ 0 h 224"/>
                  <a:gd name="T38" fmla="*/ 0 w 587"/>
                  <a:gd name="T39" fmla="*/ 0 h 224"/>
                  <a:gd name="T40" fmla="*/ 0 w 587"/>
                  <a:gd name="T41" fmla="*/ 0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87"/>
                  <a:gd name="T64" fmla="*/ 0 h 224"/>
                  <a:gd name="T65" fmla="*/ 587 w 58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87" h="224">
                    <a:moveTo>
                      <a:pt x="0" y="218"/>
                    </a:moveTo>
                    <a:lnTo>
                      <a:pt x="155" y="166"/>
                    </a:lnTo>
                    <a:lnTo>
                      <a:pt x="262" y="138"/>
                    </a:lnTo>
                    <a:lnTo>
                      <a:pt x="342" y="104"/>
                    </a:lnTo>
                    <a:lnTo>
                      <a:pt x="441" y="62"/>
                    </a:lnTo>
                    <a:lnTo>
                      <a:pt x="587" y="0"/>
                    </a:lnTo>
                    <a:lnTo>
                      <a:pt x="587" y="33"/>
                    </a:lnTo>
                    <a:lnTo>
                      <a:pt x="574" y="98"/>
                    </a:lnTo>
                    <a:lnTo>
                      <a:pt x="540" y="150"/>
                    </a:lnTo>
                    <a:lnTo>
                      <a:pt x="505" y="189"/>
                    </a:lnTo>
                    <a:lnTo>
                      <a:pt x="418" y="189"/>
                    </a:lnTo>
                    <a:lnTo>
                      <a:pt x="505" y="184"/>
                    </a:lnTo>
                    <a:lnTo>
                      <a:pt x="540" y="142"/>
                    </a:lnTo>
                    <a:lnTo>
                      <a:pt x="563" y="104"/>
                    </a:lnTo>
                    <a:lnTo>
                      <a:pt x="571" y="74"/>
                    </a:lnTo>
                    <a:lnTo>
                      <a:pt x="571" y="21"/>
                    </a:lnTo>
                    <a:lnTo>
                      <a:pt x="366" y="108"/>
                    </a:lnTo>
                    <a:lnTo>
                      <a:pt x="250" y="150"/>
                    </a:lnTo>
                    <a:lnTo>
                      <a:pt x="5" y="224"/>
                    </a:lnTo>
                    <a:lnTo>
                      <a:pt x="0" y="218"/>
                    </a:lnTo>
                    <a:close/>
                  </a:path>
                </a:pathLst>
              </a:custGeom>
              <a:solidFill>
                <a:srgbClr val="000000"/>
              </a:solidFill>
              <a:ln w="9525">
                <a:noFill/>
                <a:round/>
                <a:headEnd/>
                <a:tailEnd/>
              </a:ln>
            </p:spPr>
            <p:txBody>
              <a:bodyPr/>
              <a:lstStyle/>
              <a:p>
                <a:endParaRPr lang="fr-FR"/>
              </a:p>
            </p:txBody>
          </p:sp>
          <p:sp>
            <p:nvSpPr>
              <p:cNvPr id="10288" name="Freeform 1048"/>
              <p:cNvSpPr>
                <a:spLocks/>
              </p:cNvSpPr>
              <p:nvPr/>
            </p:nvSpPr>
            <p:spPr bwMode="auto">
              <a:xfrm>
                <a:off x="3908" y="1901"/>
                <a:ext cx="151" cy="119"/>
              </a:xfrm>
              <a:custGeom>
                <a:avLst/>
                <a:gdLst>
                  <a:gd name="T0" fmla="*/ 0 w 452"/>
                  <a:gd name="T1" fmla="*/ 0 h 355"/>
                  <a:gd name="T2" fmla="*/ 0 w 452"/>
                  <a:gd name="T3" fmla="*/ 0 h 355"/>
                  <a:gd name="T4" fmla="*/ 0 w 452"/>
                  <a:gd name="T5" fmla="*/ 0 h 355"/>
                  <a:gd name="T6" fmla="*/ 0 w 452"/>
                  <a:gd name="T7" fmla="*/ 0 h 355"/>
                  <a:gd name="T8" fmla="*/ 0 w 452"/>
                  <a:gd name="T9" fmla="*/ 0 h 355"/>
                  <a:gd name="T10" fmla="*/ 0 w 452"/>
                  <a:gd name="T11" fmla="*/ 0 h 355"/>
                  <a:gd name="T12" fmla="*/ 0 w 452"/>
                  <a:gd name="T13" fmla="*/ 0 h 355"/>
                  <a:gd name="T14" fmla="*/ 0 w 452"/>
                  <a:gd name="T15" fmla="*/ 0 h 355"/>
                  <a:gd name="T16" fmla="*/ 0 w 452"/>
                  <a:gd name="T17" fmla="*/ 0 h 355"/>
                  <a:gd name="T18" fmla="*/ 0 w 452"/>
                  <a:gd name="T19" fmla="*/ 0 h 355"/>
                  <a:gd name="T20" fmla="*/ 0 w 452"/>
                  <a:gd name="T21" fmla="*/ 0 h 355"/>
                  <a:gd name="T22" fmla="*/ 0 w 452"/>
                  <a:gd name="T23" fmla="*/ 0 h 355"/>
                  <a:gd name="T24" fmla="*/ 0 w 452"/>
                  <a:gd name="T25" fmla="*/ 0 h 355"/>
                  <a:gd name="T26" fmla="*/ 0 w 452"/>
                  <a:gd name="T27" fmla="*/ 0 h 355"/>
                  <a:gd name="T28" fmla="*/ 0 w 452"/>
                  <a:gd name="T29" fmla="*/ 0 h 355"/>
                  <a:gd name="T30" fmla="*/ 0 w 452"/>
                  <a:gd name="T31" fmla="*/ 0 h 355"/>
                  <a:gd name="T32" fmla="*/ 0 w 452"/>
                  <a:gd name="T33" fmla="*/ 0 h 355"/>
                  <a:gd name="T34" fmla="*/ 0 w 452"/>
                  <a:gd name="T35" fmla="*/ 0 h 355"/>
                  <a:gd name="T36" fmla="*/ 0 w 452"/>
                  <a:gd name="T37" fmla="*/ 0 h 355"/>
                  <a:gd name="T38" fmla="*/ 0 w 452"/>
                  <a:gd name="T39" fmla="*/ 0 h 355"/>
                  <a:gd name="T40" fmla="*/ 0 w 452"/>
                  <a:gd name="T41" fmla="*/ 0 h 355"/>
                  <a:gd name="T42" fmla="*/ 0 w 452"/>
                  <a:gd name="T43" fmla="*/ 0 h 355"/>
                  <a:gd name="T44" fmla="*/ 0 w 452"/>
                  <a:gd name="T45" fmla="*/ 0 h 355"/>
                  <a:gd name="T46" fmla="*/ 0 w 452"/>
                  <a:gd name="T47" fmla="*/ 0 h 355"/>
                  <a:gd name="T48" fmla="*/ 0 w 452"/>
                  <a:gd name="T49" fmla="*/ 0 h 355"/>
                  <a:gd name="T50" fmla="*/ 0 w 452"/>
                  <a:gd name="T51" fmla="*/ 0 h 355"/>
                  <a:gd name="T52" fmla="*/ 0 w 452"/>
                  <a:gd name="T53" fmla="*/ 0 h 355"/>
                  <a:gd name="T54" fmla="*/ 0 w 452"/>
                  <a:gd name="T55" fmla="*/ 0 h 355"/>
                  <a:gd name="T56" fmla="*/ 0 w 452"/>
                  <a:gd name="T57" fmla="*/ 0 h 355"/>
                  <a:gd name="T58" fmla="*/ 0 w 452"/>
                  <a:gd name="T59" fmla="*/ 0 h 355"/>
                  <a:gd name="T60" fmla="*/ 0 w 452"/>
                  <a:gd name="T61" fmla="*/ 0 h 355"/>
                  <a:gd name="T62" fmla="*/ 0 w 452"/>
                  <a:gd name="T63" fmla="*/ 0 h 355"/>
                  <a:gd name="T64" fmla="*/ 0 w 452"/>
                  <a:gd name="T65" fmla="*/ 0 h 355"/>
                  <a:gd name="T66" fmla="*/ 0 w 452"/>
                  <a:gd name="T67" fmla="*/ 0 h 355"/>
                  <a:gd name="T68" fmla="*/ 0 w 452"/>
                  <a:gd name="T69" fmla="*/ 0 h 355"/>
                  <a:gd name="T70" fmla="*/ 0 w 452"/>
                  <a:gd name="T71" fmla="*/ 0 h 355"/>
                  <a:gd name="T72" fmla="*/ 0 w 452"/>
                  <a:gd name="T73" fmla="*/ 0 h 355"/>
                  <a:gd name="T74" fmla="*/ 0 w 452"/>
                  <a:gd name="T75" fmla="*/ 0 h 355"/>
                  <a:gd name="T76" fmla="*/ 0 w 452"/>
                  <a:gd name="T77" fmla="*/ 0 h 355"/>
                  <a:gd name="T78" fmla="*/ 0 w 452"/>
                  <a:gd name="T79" fmla="*/ 0 h 355"/>
                  <a:gd name="T80" fmla="*/ 0 w 452"/>
                  <a:gd name="T81" fmla="*/ 0 h 355"/>
                  <a:gd name="T82" fmla="*/ 0 w 452"/>
                  <a:gd name="T83" fmla="*/ 0 h 355"/>
                  <a:gd name="T84" fmla="*/ 0 w 452"/>
                  <a:gd name="T85" fmla="*/ 0 h 355"/>
                  <a:gd name="T86" fmla="*/ 0 w 452"/>
                  <a:gd name="T87" fmla="*/ 0 h 355"/>
                  <a:gd name="T88" fmla="*/ 0 w 452"/>
                  <a:gd name="T89" fmla="*/ 0 h 355"/>
                  <a:gd name="T90" fmla="*/ 0 w 452"/>
                  <a:gd name="T91" fmla="*/ 0 h 355"/>
                  <a:gd name="T92" fmla="*/ 0 w 452"/>
                  <a:gd name="T93" fmla="*/ 0 h 355"/>
                  <a:gd name="T94" fmla="*/ 0 w 452"/>
                  <a:gd name="T95" fmla="*/ 0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52"/>
                  <a:gd name="T145" fmla="*/ 0 h 355"/>
                  <a:gd name="T146" fmla="*/ 452 w 452"/>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52" h="355">
                    <a:moveTo>
                      <a:pt x="0" y="215"/>
                    </a:moveTo>
                    <a:lnTo>
                      <a:pt x="20" y="200"/>
                    </a:lnTo>
                    <a:lnTo>
                      <a:pt x="87" y="205"/>
                    </a:lnTo>
                    <a:lnTo>
                      <a:pt x="145" y="200"/>
                    </a:lnTo>
                    <a:lnTo>
                      <a:pt x="201" y="191"/>
                    </a:lnTo>
                    <a:lnTo>
                      <a:pt x="201" y="306"/>
                    </a:lnTo>
                    <a:lnTo>
                      <a:pt x="207" y="306"/>
                    </a:lnTo>
                    <a:lnTo>
                      <a:pt x="231" y="182"/>
                    </a:lnTo>
                    <a:lnTo>
                      <a:pt x="283" y="153"/>
                    </a:lnTo>
                    <a:lnTo>
                      <a:pt x="298" y="205"/>
                    </a:lnTo>
                    <a:lnTo>
                      <a:pt x="321" y="239"/>
                    </a:lnTo>
                    <a:lnTo>
                      <a:pt x="332" y="271"/>
                    </a:lnTo>
                    <a:lnTo>
                      <a:pt x="332" y="310"/>
                    </a:lnTo>
                    <a:lnTo>
                      <a:pt x="349" y="349"/>
                    </a:lnTo>
                    <a:lnTo>
                      <a:pt x="360" y="355"/>
                    </a:lnTo>
                    <a:lnTo>
                      <a:pt x="349" y="320"/>
                    </a:lnTo>
                    <a:lnTo>
                      <a:pt x="345" y="277"/>
                    </a:lnTo>
                    <a:lnTo>
                      <a:pt x="355" y="254"/>
                    </a:lnTo>
                    <a:lnTo>
                      <a:pt x="399" y="283"/>
                    </a:lnTo>
                    <a:lnTo>
                      <a:pt x="416" y="297"/>
                    </a:lnTo>
                    <a:lnTo>
                      <a:pt x="399" y="262"/>
                    </a:lnTo>
                    <a:lnTo>
                      <a:pt x="349" y="228"/>
                    </a:lnTo>
                    <a:lnTo>
                      <a:pt x="321" y="210"/>
                    </a:lnTo>
                    <a:lnTo>
                      <a:pt x="306" y="178"/>
                    </a:lnTo>
                    <a:lnTo>
                      <a:pt x="306" y="153"/>
                    </a:lnTo>
                    <a:lnTo>
                      <a:pt x="345" y="121"/>
                    </a:lnTo>
                    <a:lnTo>
                      <a:pt x="366" y="158"/>
                    </a:lnTo>
                    <a:lnTo>
                      <a:pt x="399" y="191"/>
                    </a:lnTo>
                    <a:lnTo>
                      <a:pt x="369" y="105"/>
                    </a:lnTo>
                    <a:lnTo>
                      <a:pt x="412" y="35"/>
                    </a:lnTo>
                    <a:lnTo>
                      <a:pt x="452" y="49"/>
                    </a:lnTo>
                    <a:lnTo>
                      <a:pt x="428" y="0"/>
                    </a:lnTo>
                    <a:lnTo>
                      <a:pt x="428" y="25"/>
                    </a:lnTo>
                    <a:lnTo>
                      <a:pt x="407" y="19"/>
                    </a:lnTo>
                    <a:lnTo>
                      <a:pt x="373" y="77"/>
                    </a:lnTo>
                    <a:lnTo>
                      <a:pt x="355" y="105"/>
                    </a:lnTo>
                    <a:lnTo>
                      <a:pt x="306" y="139"/>
                    </a:lnTo>
                    <a:lnTo>
                      <a:pt x="298" y="158"/>
                    </a:lnTo>
                    <a:lnTo>
                      <a:pt x="287" y="148"/>
                    </a:lnTo>
                    <a:lnTo>
                      <a:pt x="225" y="169"/>
                    </a:lnTo>
                    <a:lnTo>
                      <a:pt x="211" y="221"/>
                    </a:lnTo>
                    <a:lnTo>
                      <a:pt x="201" y="178"/>
                    </a:lnTo>
                    <a:lnTo>
                      <a:pt x="168" y="187"/>
                    </a:lnTo>
                    <a:lnTo>
                      <a:pt x="101" y="191"/>
                    </a:lnTo>
                    <a:lnTo>
                      <a:pt x="30" y="187"/>
                    </a:lnTo>
                    <a:lnTo>
                      <a:pt x="9" y="196"/>
                    </a:lnTo>
                    <a:lnTo>
                      <a:pt x="0" y="215"/>
                    </a:lnTo>
                    <a:close/>
                  </a:path>
                </a:pathLst>
              </a:custGeom>
              <a:solidFill>
                <a:srgbClr val="000000"/>
              </a:solidFill>
              <a:ln w="9525">
                <a:noFill/>
                <a:round/>
                <a:headEnd/>
                <a:tailEnd/>
              </a:ln>
            </p:spPr>
            <p:txBody>
              <a:bodyPr/>
              <a:lstStyle/>
              <a:p>
                <a:endParaRPr lang="fr-FR"/>
              </a:p>
            </p:txBody>
          </p:sp>
          <p:sp>
            <p:nvSpPr>
              <p:cNvPr id="10289" name="Freeform 1049"/>
              <p:cNvSpPr>
                <a:spLocks/>
              </p:cNvSpPr>
              <p:nvPr/>
            </p:nvSpPr>
            <p:spPr bwMode="auto">
              <a:xfrm>
                <a:off x="3846" y="1734"/>
                <a:ext cx="371" cy="202"/>
              </a:xfrm>
              <a:custGeom>
                <a:avLst/>
                <a:gdLst>
                  <a:gd name="T0" fmla="*/ 0 w 1113"/>
                  <a:gd name="T1" fmla="*/ 0 h 606"/>
                  <a:gd name="T2" fmla="*/ 0 w 1113"/>
                  <a:gd name="T3" fmla="*/ 0 h 606"/>
                  <a:gd name="T4" fmla="*/ 0 w 1113"/>
                  <a:gd name="T5" fmla="*/ 0 h 606"/>
                  <a:gd name="T6" fmla="*/ 0 w 1113"/>
                  <a:gd name="T7" fmla="*/ 0 h 606"/>
                  <a:gd name="T8" fmla="*/ 0 w 1113"/>
                  <a:gd name="T9" fmla="*/ 0 h 606"/>
                  <a:gd name="T10" fmla="*/ 0 w 1113"/>
                  <a:gd name="T11" fmla="*/ 0 h 606"/>
                  <a:gd name="T12" fmla="*/ 0 w 1113"/>
                  <a:gd name="T13" fmla="*/ 0 h 606"/>
                  <a:gd name="T14" fmla="*/ 0 w 1113"/>
                  <a:gd name="T15" fmla="*/ 0 h 606"/>
                  <a:gd name="T16" fmla="*/ 0 w 1113"/>
                  <a:gd name="T17" fmla="*/ 0 h 606"/>
                  <a:gd name="T18" fmla="*/ 0 w 1113"/>
                  <a:gd name="T19" fmla="*/ 0 h 606"/>
                  <a:gd name="T20" fmla="*/ 0 w 1113"/>
                  <a:gd name="T21" fmla="*/ 0 h 606"/>
                  <a:gd name="T22" fmla="*/ 0 w 1113"/>
                  <a:gd name="T23" fmla="*/ 0 h 606"/>
                  <a:gd name="T24" fmla="*/ 0 w 1113"/>
                  <a:gd name="T25" fmla="*/ 0 h 606"/>
                  <a:gd name="T26" fmla="*/ 0 w 1113"/>
                  <a:gd name="T27" fmla="*/ 0 h 606"/>
                  <a:gd name="T28" fmla="*/ 0 w 1113"/>
                  <a:gd name="T29" fmla="*/ 0 h 606"/>
                  <a:gd name="T30" fmla="*/ 0 w 1113"/>
                  <a:gd name="T31" fmla="*/ 0 h 606"/>
                  <a:gd name="T32" fmla="*/ 0 w 1113"/>
                  <a:gd name="T33" fmla="*/ 0 h 606"/>
                  <a:gd name="T34" fmla="*/ 0 w 1113"/>
                  <a:gd name="T35" fmla="*/ 0 h 606"/>
                  <a:gd name="T36" fmla="*/ 0 w 1113"/>
                  <a:gd name="T37" fmla="*/ 0 h 606"/>
                  <a:gd name="T38" fmla="*/ 0 w 1113"/>
                  <a:gd name="T39" fmla="*/ 0 h 606"/>
                  <a:gd name="T40" fmla="*/ 0 w 1113"/>
                  <a:gd name="T41" fmla="*/ 0 h 606"/>
                  <a:gd name="T42" fmla="*/ 0 w 1113"/>
                  <a:gd name="T43" fmla="*/ 0 h 606"/>
                  <a:gd name="T44" fmla="*/ 0 w 1113"/>
                  <a:gd name="T45" fmla="*/ 0 h 606"/>
                  <a:gd name="T46" fmla="*/ 0 w 1113"/>
                  <a:gd name="T47" fmla="*/ 0 h 606"/>
                  <a:gd name="T48" fmla="*/ 0 w 1113"/>
                  <a:gd name="T49" fmla="*/ 0 h 606"/>
                  <a:gd name="T50" fmla="*/ 0 w 1113"/>
                  <a:gd name="T51" fmla="*/ 0 h 606"/>
                  <a:gd name="T52" fmla="*/ 0 w 1113"/>
                  <a:gd name="T53" fmla="*/ 0 h 606"/>
                  <a:gd name="T54" fmla="*/ 0 w 1113"/>
                  <a:gd name="T55" fmla="*/ 0 h 606"/>
                  <a:gd name="T56" fmla="*/ 0 w 1113"/>
                  <a:gd name="T57" fmla="*/ 0 h 606"/>
                  <a:gd name="T58" fmla="*/ 0 w 1113"/>
                  <a:gd name="T59" fmla="*/ 0 h 606"/>
                  <a:gd name="T60" fmla="*/ 0 w 1113"/>
                  <a:gd name="T61" fmla="*/ 0 h 606"/>
                  <a:gd name="T62" fmla="*/ 0 w 1113"/>
                  <a:gd name="T63" fmla="*/ 0 h 606"/>
                  <a:gd name="T64" fmla="*/ 0 w 1113"/>
                  <a:gd name="T65" fmla="*/ 0 h 606"/>
                  <a:gd name="T66" fmla="*/ 0 w 1113"/>
                  <a:gd name="T67" fmla="*/ 0 h 606"/>
                  <a:gd name="T68" fmla="*/ 0 w 1113"/>
                  <a:gd name="T69" fmla="*/ 0 h 606"/>
                  <a:gd name="T70" fmla="*/ 0 w 1113"/>
                  <a:gd name="T71" fmla="*/ 0 h 606"/>
                  <a:gd name="T72" fmla="*/ 0 w 1113"/>
                  <a:gd name="T73" fmla="*/ 0 h 606"/>
                  <a:gd name="T74" fmla="*/ 0 w 1113"/>
                  <a:gd name="T75" fmla="*/ 0 h 606"/>
                  <a:gd name="T76" fmla="*/ 0 w 1113"/>
                  <a:gd name="T77" fmla="*/ 0 h 606"/>
                  <a:gd name="T78" fmla="*/ 0 w 1113"/>
                  <a:gd name="T79" fmla="*/ 0 h 606"/>
                  <a:gd name="T80" fmla="*/ 0 w 1113"/>
                  <a:gd name="T81" fmla="*/ 0 h 606"/>
                  <a:gd name="T82" fmla="*/ 0 w 1113"/>
                  <a:gd name="T83" fmla="*/ 0 h 606"/>
                  <a:gd name="T84" fmla="*/ 0 w 1113"/>
                  <a:gd name="T85" fmla="*/ 0 h 606"/>
                  <a:gd name="T86" fmla="*/ 0 w 1113"/>
                  <a:gd name="T87" fmla="*/ 0 h 606"/>
                  <a:gd name="T88" fmla="*/ 0 w 1113"/>
                  <a:gd name="T89" fmla="*/ 0 h 606"/>
                  <a:gd name="T90" fmla="*/ 0 w 1113"/>
                  <a:gd name="T91" fmla="*/ 0 h 60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13"/>
                  <a:gd name="T139" fmla="*/ 0 h 606"/>
                  <a:gd name="T140" fmla="*/ 1113 w 1113"/>
                  <a:gd name="T141" fmla="*/ 606 h 60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13" h="606">
                    <a:moveTo>
                      <a:pt x="0" y="606"/>
                    </a:moveTo>
                    <a:lnTo>
                      <a:pt x="211" y="544"/>
                    </a:lnTo>
                    <a:lnTo>
                      <a:pt x="308" y="511"/>
                    </a:lnTo>
                    <a:lnTo>
                      <a:pt x="480" y="434"/>
                    </a:lnTo>
                    <a:lnTo>
                      <a:pt x="590" y="382"/>
                    </a:lnTo>
                    <a:lnTo>
                      <a:pt x="666" y="327"/>
                    </a:lnTo>
                    <a:lnTo>
                      <a:pt x="756" y="291"/>
                    </a:lnTo>
                    <a:lnTo>
                      <a:pt x="839" y="263"/>
                    </a:lnTo>
                    <a:lnTo>
                      <a:pt x="949" y="235"/>
                    </a:lnTo>
                    <a:lnTo>
                      <a:pt x="1001" y="211"/>
                    </a:lnTo>
                    <a:lnTo>
                      <a:pt x="1019" y="183"/>
                    </a:lnTo>
                    <a:lnTo>
                      <a:pt x="1030" y="154"/>
                    </a:lnTo>
                    <a:lnTo>
                      <a:pt x="1036" y="192"/>
                    </a:lnTo>
                    <a:lnTo>
                      <a:pt x="1044" y="148"/>
                    </a:lnTo>
                    <a:lnTo>
                      <a:pt x="1079" y="101"/>
                    </a:lnTo>
                    <a:lnTo>
                      <a:pt x="1113" y="73"/>
                    </a:lnTo>
                    <a:lnTo>
                      <a:pt x="1079" y="86"/>
                    </a:lnTo>
                    <a:lnTo>
                      <a:pt x="1040" y="135"/>
                    </a:lnTo>
                    <a:lnTo>
                      <a:pt x="1030" y="107"/>
                    </a:lnTo>
                    <a:lnTo>
                      <a:pt x="1036" y="82"/>
                    </a:lnTo>
                    <a:lnTo>
                      <a:pt x="1053" y="53"/>
                    </a:lnTo>
                    <a:lnTo>
                      <a:pt x="1058" y="21"/>
                    </a:lnTo>
                    <a:lnTo>
                      <a:pt x="1058" y="0"/>
                    </a:lnTo>
                    <a:lnTo>
                      <a:pt x="1050" y="34"/>
                    </a:lnTo>
                    <a:lnTo>
                      <a:pt x="1027" y="82"/>
                    </a:lnTo>
                    <a:lnTo>
                      <a:pt x="1001" y="82"/>
                    </a:lnTo>
                    <a:lnTo>
                      <a:pt x="978" y="62"/>
                    </a:lnTo>
                    <a:lnTo>
                      <a:pt x="967" y="53"/>
                    </a:lnTo>
                    <a:lnTo>
                      <a:pt x="982" y="86"/>
                    </a:lnTo>
                    <a:lnTo>
                      <a:pt x="1016" y="95"/>
                    </a:lnTo>
                    <a:lnTo>
                      <a:pt x="1019" y="131"/>
                    </a:lnTo>
                    <a:lnTo>
                      <a:pt x="1019" y="159"/>
                    </a:lnTo>
                    <a:lnTo>
                      <a:pt x="1001" y="192"/>
                    </a:lnTo>
                    <a:lnTo>
                      <a:pt x="992" y="200"/>
                    </a:lnTo>
                    <a:lnTo>
                      <a:pt x="939" y="224"/>
                    </a:lnTo>
                    <a:lnTo>
                      <a:pt x="865" y="244"/>
                    </a:lnTo>
                    <a:lnTo>
                      <a:pt x="790" y="269"/>
                    </a:lnTo>
                    <a:lnTo>
                      <a:pt x="738" y="285"/>
                    </a:lnTo>
                    <a:lnTo>
                      <a:pt x="666" y="316"/>
                    </a:lnTo>
                    <a:lnTo>
                      <a:pt x="594" y="368"/>
                    </a:lnTo>
                    <a:lnTo>
                      <a:pt x="536" y="401"/>
                    </a:lnTo>
                    <a:lnTo>
                      <a:pt x="409" y="459"/>
                    </a:lnTo>
                    <a:lnTo>
                      <a:pt x="256" y="526"/>
                    </a:lnTo>
                    <a:lnTo>
                      <a:pt x="52" y="587"/>
                    </a:lnTo>
                    <a:lnTo>
                      <a:pt x="0" y="606"/>
                    </a:lnTo>
                    <a:close/>
                  </a:path>
                </a:pathLst>
              </a:custGeom>
              <a:solidFill>
                <a:srgbClr val="000000"/>
              </a:solidFill>
              <a:ln w="9525">
                <a:noFill/>
                <a:round/>
                <a:headEnd/>
                <a:tailEnd/>
              </a:ln>
            </p:spPr>
            <p:txBody>
              <a:bodyPr/>
              <a:lstStyle/>
              <a:p>
                <a:endParaRPr lang="fr-FR"/>
              </a:p>
            </p:txBody>
          </p:sp>
          <p:sp>
            <p:nvSpPr>
              <p:cNvPr id="10290" name="Freeform 1050"/>
              <p:cNvSpPr>
                <a:spLocks/>
              </p:cNvSpPr>
              <p:nvPr/>
            </p:nvSpPr>
            <p:spPr bwMode="auto">
              <a:xfrm>
                <a:off x="4194" y="1672"/>
                <a:ext cx="324" cy="126"/>
              </a:xfrm>
              <a:custGeom>
                <a:avLst/>
                <a:gdLst>
                  <a:gd name="T0" fmla="*/ 0 w 973"/>
                  <a:gd name="T1" fmla="*/ 0 h 378"/>
                  <a:gd name="T2" fmla="*/ 0 w 973"/>
                  <a:gd name="T3" fmla="*/ 0 h 378"/>
                  <a:gd name="T4" fmla="*/ 0 w 973"/>
                  <a:gd name="T5" fmla="*/ 0 h 378"/>
                  <a:gd name="T6" fmla="*/ 0 w 973"/>
                  <a:gd name="T7" fmla="*/ 0 h 378"/>
                  <a:gd name="T8" fmla="*/ 0 w 973"/>
                  <a:gd name="T9" fmla="*/ 0 h 378"/>
                  <a:gd name="T10" fmla="*/ 0 w 973"/>
                  <a:gd name="T11" fmla="*/ 0 h 378"/>
                  <a:gd name="T12" fmla="*/ 0 w 973"/>
                  <a:gd name="T13" fmla="*/ 0 h 378"/>
                  <a:gd name="T14" fmla="*/ 0 w 973"/>
                  <a:gd name="T15" fmla="*/ 0 h 378"/>
                  <a:gd name="T16" fmla="*/ 0 w 973"/>
                  <a:gd name="T17" fmla="*/ 0 h 378"/>
                  <a:gd name="T18" fmla="*/ 0 w 973"/>
                  <a:gd name="T19" fmla="*/ 0 h 378"/>
                  <a:gd name="T20" fmla="*/ 0 w 973"/>
                  <a:gd name="T21" fmla="*/ 0 h 378"/>
                  <a:gd name="T22" fmla="*/ 0 w 973"/>
                  <a:gd name="T23" fmla="*/ 0 h 378"/>
                  <a:gd name="T24" fmla="*/ 0 w 973"/>
                  <a:gd name="T25" fmla="*/ 0 h 378"/>
                  <a:gd name="T26" fmla="*/ 0 w 973"/>
                  <a:gd name="T27" fmla="*/ 0 h 378"/>
                  <a:gd name="T28" fmla="*/ 0 w 973"/>
                  <a:gd name="T29" fmla="*/ 0 h 378"/>
                  <a:gd name="T30" fmla="*/ 0 w 973"/>
                  <a:gd name="T31" fmla="*/ 0 h 378"/>
                  <a:gd name="T32" fmla="*/ 0 w 973"/>
                  <a:gd name="T33" fmla="*/ 0 h 378"/>
                  <a:gd name="T34" fmla="*/ 0 w 973"/>
                  <a:gd name="T35" fmla="*/ 0 h 378"/>
                  <a:gd name="T36" fmla="*/ 0 w 973"/>
                  <a:gd name="T37" fmla="*/ 0 h 378"/>
                  <a:gd name="T38" fmla="*/ 0 w 973"/>
                  <a:gd name="T39" fmla="*/ 0 h 378"/>
                  <a:gd name="T40" fmla="*/ 0 w 973"/>
                  <a:gd name="T41" fmla="*/ 0 h 378"/>
                  <a:gd name="T42" fmla="*/ 0 w 973"/>
                  <a:gd name="T43" fmla="*/ 0 h 378"/>
                  <a:gd name="T44" fmla="*/ 0 w 973"/>
                  <a:gd name="T45" fmla="*/ 0 h 378"/>
                  <a:gd name="T46" fmla="*/ 0 w 973"/>
                  <a:gd name="T47" fmla="*/ 0 h 378"/>
                  <a:gd name="T48" fmla="*/ 0 w 973"/>
                  <a:gd name="T49" fmla="*/ 0 h 378"/>
                  <a:gd name="T50" fmla="*/ 0 w 973"/>
                  <a:gd name="T51" fmla="*/ 0 h 378"/>
                  <a:gd name="T52" fmla="*/ 0 w 973"/>
                  <a:gd name="T53" fmla="*/ 0 h 378"/>
                  <a:gd name="T54" fmla="*/ 0 w 973"/>
                  <a:gd name="T55" fmla="*/ 0 h 378"/>
                  <a:gd name="T56" fmla="*/ 0 w 973"/>
                  <a:gd name="T57" fmla="*/ 0 h 378"/>
                  <a:gd name="T58" fmla="*/ 0 w 973"/>
                  <a:gd name="T59" fmla="*/ 0 h 378"/>
                  <a:gd name="T60" fmla="*/ 0 w 973"/>
                  <a:gd name="T61" fmla="*/ 0 h 378"/>
                  <a:gd name="T62" fmla="*/ 0 w 973"/>
                  <a:gd name="T63" fmla="*/ 0 h 378"/>
                  <a:gd name="T64" fmla="*/ 0 w 973"/>
                  <a:gd name="T65" fmla="*/ 0 h 378"/>
                  <a:gd name="T66" fmla="*/ 0 w 973"/>
                  <a:gd name="T67" fmla="*/ 0 h 378"/>
                  <a:gd name="T68" fmla="*/ 0 w 973"/>
                  <a:gd name="T69" fmla="*/ 0 h 378"/>
                  <a:gd name="T70" fmla="*/ 0 w 973"/>
                  <a:gd name="T71" fmla="*/ 0 h 378"/>
                  <a:gd name="T72" fmla="*/ 0 w 973"/>
                  <a:gd name="T73" fmla="*/ 0 h 378"/>
                  <a:gd name="T74" fmla="*/ 0 w 973"/>
                  <a:gd name="T75" fmla="*/ 0 h 378"/>
                  <a:gd name="T76" fmla="*/ 0 w 973"/>
                  <a:gd name="T77" fmla="*/ 0 h 378"/>
                  <a:gd name="T78" fmla="*/ 0 w 973"/>
                  <a:gd name="T79" fmla="*/ 0 h 378"/>
                  <a:gd name="T80" fmla="*/ 0 w 973"/>
                  <a:gd name="T81" fmla="*/ 0 h 378"/>
                  <a:gd name="T82" fmla="*/ 0 w 973"/>
                  <a:gd name="T83" fmla="*/ 0 h 378"/>
                  <a:gd name="T84" fmla="*/ 0 w 973"/>
                  <a:gd name="T85" fmla="*/ 0 h 378"/>
                  <a:gd name="T86" fmla="*/ 0 w 973"/>
                  <a:gd name="T87" fmla="*/ 0 h 378"/>
                  <a:gd name="T88" fmla="*/ 0 w 973"/>
                  <a:gd name="T89" fmla="*/ 0 h 378"/>
                  <a:gd name="T90" fmla="*/ 0 w 973"/>
                  <a:gd name="T91" fmla="*/ 0 h 378"/>
                  <a:gd name="T92" fmla="*/ 0 w 973"/>
                  <a:gd name="T93" fmla="*/ 0 h 378"/>
                  <a:gd name="T94" fmla="*/ 0 w 973"/>
                  <a:gd name="T95" fmla="*/ 0 h 378"/>
                  <a:gd name="T96" fmla="*/ 0 w 973"/>
                  <a:gd name="T97" fmla="*/ 0 h 378"/>
                  <a:gd name="T98" fmla="*/ 0 w 973"/>
                  <a:gd name="T99" fmla="*/ 0 h 378"/>
                  <a:gd name="T100" fmla="*/ 0 w 973"/>
                  <a:gd name="T101" fmla="*/ 0 h 378"/>
                  <a:gd name="T102" fmla="*/ 0 w 973"/>
                  <a:gd name="T103" fmla="*/ 0 h 378"/>
                  <a:gd name="T104" fmla="*/ 0 w 973"/>
                  <a:gd name="T105" fmla="*/ 0 h 378"/>
                  <a:gd name="T106" fmla="*/ 0 w 973"/>
                  <a:gd name="T107" fmla="*/ 0 h 378"/>
                  <a:gd name="T108" fmla="*/ 0 w 973"/>
                  <a:gd name="T109" fmla="*/ 0 h 378"/>
                  <a:gd name="T110" fmla="*/ 0 w 973"/>
                  <a:gd name="T111" fmla="*/ 0 h 378"/>
                  <a:gd name="T112" fmla="*/ 0 w 973"/>
                  <a:gd name="T113" fmla="*/ 0 h 378"/>
                  <a:gd name="T114" fmla="*/ 0 w 973"/>
                  <a:gd name="T115" fmla="*/ 0 h 3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73"/>
                  <a:gd name="T175" fmla="*/ 0 h 378"/>
                  <a:gd name="T176" fmla="*/ 973 w 973"/>
                  <a:gd name="T177" fmla="*/ 378 h 37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73" h="378">
                    <a:moveTo>
                      <a:pt x="0" y="378"/>
                    </a:moveTo>
                    <a:lnTo>
                      <a:pt x="76" y="355"/>
                    </a:lnTo>
                    <a:lnTo>
                      <a:pt x="100" y="330"/>
                    </a:lnTo>
                    <a:lnTo>
                      <a:pt x="106" y="293"/>
                    </a:lnTo>
                    <a:lnTo>
                      <a:pt x="106" y="263"/>
                    </a:lnTo>
                    <a:lnTo>
                      <a:pt x="72" y="201"/>
                    </a:lnTo>
                    <a:lnTo>
                      <a:pt x="116" y="254"/>
                    </a:lnTo>
                    <a:lnTo>
                      <a:pt x="134" y="248"/>
                    </a:lnTo>
                    <a:lnTo>
                      <a:pt x="159" y="230"/>
                    </a:lnTo>
                    <a:lnTo>
                      <a:pt x="183" y="201"/>
                    </a:lnTo>
                    <a:lnTo>
                      <a:pt x="168" y="230"/>
                    </a:lnTo>
                    <a:lnTo>
                      <a:pt x="134" y="268"/>
                    </a:lnTo>
                    <a:lnTo>
                      <a:pt x="121" y="300"/>
                    </a:lnTo>
                    <a:lnTo>
                      <a:pt x="116" y="348"/>
                    </a:lnTo>
                    <a:lnTo>
                      <a:pt x="202" y="324"/>
                    </a:lnTo>
                    <a:lnTo>
                      <a:pt x="231" y="259"/>
                    </a:lnTo>
                    <a:lnTo>
                      <a:pt x="231" y="186"/>
                    </a:lnTo>
                    <a:lnTo>
                      <a:pt x="240" y="254"/>
                    </a:lnTo>
                    <a:lnTo>
                      <a:pt x="287" y="216"/>
                    </a:lnTo>
                    <a:lnTo>
                      <a:pt x="245" y="268"/>
                    </a:lnTo>
                    <a:lnTo>
                      <a:pt x="225" y="321"/>
                    </a:lnTo>
                    <a:lnTo>
                      <a:pt x="303" y="297"/>
                    </a:lnTo>
                    <a:lnTo>
                      <a:pt x="321" y="277"/>
                    </a:lnTo>
                    <a:lnTo>
                      <a:pt x="335" y="230"/>
                    </a:lnTo>
                    <a:lnTo>
                      <a:pt x="327" y="181"/>
                    </a:lnTo>
                    <a:lnTo>
                      <a:pt x="345" y="216"/>
                    </a:lnTo>
                    <a:lnTo>
                      <a:pt x="397" y="164"/>
                    </a:lnTo>
                    <a:lnTo>
                      <a:pt x="351" y="225"/>
                    </a:lnTo>
                    <a:lnTo>
                      <a:pt x="335" y="287"/>
                    </a:lnTo>
                    <a:lnTo>
                      <a:pt x="428" y="259"/>
                    </a:lnTo>
                    <a:lnTo>
                      <a:pt x="442" y="230"/>
                    </a:lnTo>
                    <a:lnTo>
                      <a:pt x="446" y="201"/>
                    </a:lnTo>
                    <a:lnTo>
                      <a:pt x="436" y="164"/>
                    </a:lnTo>
                    <a:lnTo>
                      <a:pt x="462" y="193"/>
                    </a:lnTo>
                    <a:lnTo>
                      <a:pt x="499" y="164"/>
                    </a:lnTo>
                    <a:lnTo>
                      <a:pt x="462" y="207"/>
                    </a:lnTo>
                    <a:lnTo>
                      <a:pt x="452" y="248"/>
                    </a:lnTo>
                    <a:lnTo>
                      <a:pt x="571" y="207"/>
                    </a:lnTo>
                    <a:lnTo>
                      <a:pt x="624" y="186"/>
                    </a:lnTo>
                    <a:lnTo>
                      <a:pt x="638" y="153"/>
                    </a:lnTo>
                    <a:lnTo>
                      <a:pt x="638" y="177"/>
                    </a:lnTo>
                    <a:lnTo>
                      <a:pt x="691" y="159"/>
                    </a:lnTo>
                    <a:lnTo>
                      <a:pt x="715" y="121"/>
                    </a:lnTo>
                    <a:lnTo>
                      <a:pt x="715" y="149"/>
                    </a:lnTo>
                    <a:lnTo>
                      <a:pt x="777" y="131"/>
                    </a:lnTo>
                    <a:lnTo>
                      <a:pt x="814" y="82"/>
                    </a:lnTo>
                    <a:lnTo>
                      <a:pt x="808" y="107"/>
                    </a:lnTo>
                    <a:lnTo>
                      <a:pt x="843" y="82"/>
                    </a:lnTo>
                    <a:lnTo>
                      <a:pt x="973" y="0"/>
                    </a:lnTo>
                    <a:lnTo>
                      <a:pt x="856" y="86"/>
                    </a:lnTo>
                    <a:lnTo>
                      <a:pt x="780" y="135"/>
                    </a:lnTo>
                    <a:lnTo>
                      <a:pt x="652" y="181"/>
                    </a:lnTo>
                    <a:lnTo>
                      <a:pt x="517" y="235"/>
                    </a:lnTo>
                    <a:lnTo>
                      <a:pt x="390" y="281"/>
                    </a:lnTo>
                    <a:lnTo>
                      <a:pt x="254" y="321"/>
                    </a:lnTo>
                    <a:lnTo>
                      <a:pt x="100" y="358"/>
                    </a:lnTo>
                    <a:lnTo>
                      <a:pt x="0" y="378"/>
                    </a:lnTo>
                    <a:close/>
                  </a:path>
                </a:pathLst>
              </a:custGeom>
              <a:solidFill>
                <a:srgbClr val="000000"/>
              </a:solidFill>
              <a:ln w="9525">
                <a:noFill/>
                <a:round/>
                <a:headEnd/>
                <a:tailEnd/>
              </a:ln>
            </p:spPr>
            <p:txBody>
              <a:bodyPr/>
              <a:lstStyle/>
              <a:p>
                <a:endParaRPr lang="fr-FR"/>
              </a:p>
            </p:txBody>
          </p:sp>
          <p:sp>
            <p:nvSpPr>
              <p:cNvPr id="10291" name="Freeform 1051"/>
              <p:cNvSpPr>
                <a:spLocks/>
              </p:cNvSpPr>
              <p:nvPr/>
            </p:nvSpPr>
            <p:spPr bwMode="auto">
              <a:xfrm>
                <a:off x="4051" y="1881"/>
                <a:ext cx="20" cy="14"/>
              </a:xfrm>
              <a:custGeom>
                <a:avLst/>
                <a:gdLst>
                  <a:gd name="T0" fmla="*/ 0 w 61"/>
                  <a:gd name="T1" fmla="*/ 0 h 41"/>
                  <a:gd name="T2" fmla="*/ 0 w 61"/>
                  <a:gd name="T3" fmla="*/ 0 h 41"/>
                  <a:gd name="T4" fmla="*/ 0 w 61"/>
                  <a:gd name="T5" fmla="*/ 0 h 41"/>
                  <a:gd name="T6" fmla="*/ 0 w 61"/>
                  <a:gd name="T7" fmla="*/ 0 h 41"/>
                  <a:gd name="T8" fmla="*/ 0 w 61"/>
                  <a:gd name="T9" fmla="*/ 0 h 41"/>
                  <a:gd name="T10" fmla="*/ 0 w 61"/>
                  <a:gd name="T11" fmla="*/ 0 h 41"/>
                  <a:gd name="T12" fmla="*/ 0 w 61"/>
                  <a:gd name="T13" fmla="*/ 0 h 41"/>
                  <a:gd name="T14" fmla="*/ 0 w 61"/>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41"/>
                  <a:gd name="T26" fmla="*/ 61 w 61"/>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41">
                    <a:moveTo>
                      <a:pt x="0" y="23"/>
                    </a:moveTo>
                    <a:lnTo>
                      <a:pt x="18" y="0"/>
                    </a:lnTo>
                    <a:lnTo>
                      <a:pt x="42" y="10"/>
                    </a:lnTo>
                    <a:lnTo>
                      <a:pt x="61" y="41"/>
                    </a:lnTo>
                    <a:lnTo>
                      <a:pt x="37" y="19"/>
                    </a:lnTo>
                    <a:lnTo>
                      <a:pt x="18" y="10"/>
                    </a:lnTo>
                    <a:lnTo>
                      <a:pt x="0" y="23"/>
                    </a:lnTo>
                    <a:close/>
                  </a:path>
                </a:pathLst>
              </a:custGeom>
              <a:solidFill>
                <a:srgbClr val="000000"/>
              </a:solidFill>
              <a:ln w="9525">
                <a:noFill/>
                <a:round/>
                <a:headEnd/>
                <a:tailEnd/>
              </a:ln>
            </p:spPr>
            <p:txBody>
              <a:bodyPr/>
              <a:lstStyle/>
              <a:p>
                <a:endParaRPr lang="fr-FR"/>
              </a:p>
            </p:txBody>
          </p:sp>
          <p:sp>
            <p:nvSpPr>
              <p:cNvPr id="10292" name="Freeform 1052"/>
              <p:cNvSpPr>
                <a:spLocks/>
              </p:cNvSpPr>
              <p:nvPr/>
            </p:nvSpPr>
            <p:spPr bwMode="auto">
              <a:xfrm>
                <a:off x="4061" y="1848"/>
                <a:ext cx="52" cy="31"/>
              </a:xfrm>
              <a:custGeom>
                <a:avLst/>
                <a:gdLst>
                  <a:gd name="T0" fmla="*/ 0 w 155"/>
                  <a:gd name="T1" fmla="*/ 0 h 94"/>
                  <a:gd name="T2" fmla="*/ 0 w 155"/>
                  <a:gd name="T3" fmla="*/ 0 h 94"/>
                  <a:gd name="T4" fmla="*/ 0 w 155"/>
                  <a:gd name="T5" fmla="*/ 0 h 94"/>
                  <a:gd name="T6" fmla="*/ 0 w 155"/>
                  <a:gd name="T7" fmla="*/ 0 h 94"/>
                  <a:gd name="T8" fmla="*/ 0 w 155"/>
                  <a:gd name="T9" fmla="*/ 0 h 94"/>
                  <a:gd name="T10" fmla="*/ 0 w 155"/>
                  <a:gd name="T11" fmla="*/ 0 h 94"/>
                  <a:gd name="T12" fmla="*/ 0 w 155"/>
                  <a:gd name="T13" fmla="*/ 0 h 94"/>
                  <a:gd name="T14" fmla="*/ 0 w 155"/>
                  <a:gd name="T15" fmla="*/ 0 h 94"/>
                  <a:gd name="T16" fmla="*/ 0 w 155"/>
                  <a:gd name="T17" fmla="*/ 0 h 94"/>
                  <a:gd name="T18" fmla="*/ 0 w 155"/>
                  <a:gd name="T19" fmla="*/ 0 h 94"/>
                  <a:gd name="T20" fmla="*/ 0 w 155"/>
                  <a:gd name="T21" fmla="*/ 0 h 94"/>
                  <a:gd name="T22" fmla="*/ 0 w 155"/>
                  <a:gd name="T23" fmla="*/ 0 h 94"/>
                  <a:gd name="T24" fmla="*/ 0 w 155"/>
                  <a:gd name="T25" fmla="*/ 0 h 94"/>
                  <a:gd name="T26" fmla="*/ 0 w 155"/>
                  <a:gd name="T27" fmla="*/ 0 h 94"/>
                  <a:gd name="T28" fmla="*/ 0 w 155"/>
                  <a:gd name="T29" fmla="*/ 0 h 94"/>
                  <a:gd name="T30" fmla="*/ 0 w 155"/>
                  <a:gd name="T31" fmla="*/ 0 h 94"/>
                  <a:gd name="T32" fmla="*/ 0 w 155"/>
                  <a:gd name="T33" fmla="*/ 0 h 9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94"/>
                  <a:gd name="T53" fmla="*/ 155 w 155"/>
                  <a:gd name="T54" fmla="*/ 94 h 9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94">
                    <a:moveTo>
                      <a:pt x="15" y="94"/>
                    </a:moveTo>
                    <a:lnTo>
                      <a:pt x="0" y="70"/>
                    </a:lnTo>
                    <a:lnTo>
                      <a:pt x="6" y="46"/>
                    </a:lnTo>
                    <a:lnTo>
                      <a:pt x="30" y="28"/>
                    </a:lnTo>
                    <a:lnTo>
                      <a:pt x="64" y="5"/>
                    </a:lnTo>
                    <a:lnTo>
                      <a:pt x="101" y="0"/>
                    </a:lnTo>
                    <a:lnTo>
                      <a:pt x="110" y="24"/>
                    </a:lnTo>
                    <a:lnTo>
                      <a:pt x="127" y="46"/>
                    </a:lnTo>
                    <a:lnTo>
                      <a:pt x="155" y="65"/>
                    </a:lnTo>
                    <a:lnTo>
                      <a:pt x="127" y="57"/>
                    </a:lnTo>
                    <a:lnTo>
                      <a:pt x="107" y="39"/>
                    </a:lnTo>
                    <a:lnTo>
                      <a:pt x="92" y="24"/>
                    </a:lnTo>
                    <a:lnTo>
                      <a:pt x="64" y="24"/>
                    </a:lnTo>
                    <a:lnTo>
                      <a:pt x="20" y="46"/>
                    </a:lnTo>
                    <a:lnTo>
                      <a:pt x="11" y="65"/>
                    </a:lnTo>
                    <a:lnTo>
                      <a:pt x="15" y="94"/>
                    </a:lnTo>
                    <a:close/>
                  </a:path>
                </a:pathLst>
              </a:custGeom>
              <a:solidFill>
                <a:srgbClr val="000000"/>
              </a:solidFill>
              <a:ln w="9525">
                <a:noFill/>
                <a:round/>
                <a:headEnd/>
                <a:tailEnd/>
              </a:ln>
            </p:spPr>
            <p:txBody>
              <a:bodyPr/>
              <a:lstStyle/>
              <a:p>
                <a:endParaRPr lang="fr-FR"/>
              </a:p>
            </p:txBody>
          </p:sp>
          <p:sp>
            <p:nvSpPr>
              <p:cNvPr id="10293" name="Freeform 1053"/>
              <p:cNvSpPr>
                <a:spLocks/>
              </p:cNvSpPr>
              <p:nvPr/>
            </p:nvSpPr>
            <p:spPr bwMode="auto">
              <a:xfrm>
                <a:off x="4107" y="1687"/>
                <a:ext cx="395" cy="176"/>
              </a:xfrm>
              <a:custGeom>
                <a:avLst/>
                <a:gdLst>
                  <a:gd name="T0" fmla="*/ 0 w 1186"/>
                  <a:gd name="T1" fmla="*/ 0 h 529"/>
                  <a:gd name="T2" fmla="*/ 0 w 1186"/>
                  <a:gd name="T3" fmla="*/ 0 h 529"/>
                  <a:gd name="T4" fmla="*/ 0 w 1186"/>
                  <a:gd name="T5" fmla="*/ 0 h 529"/>
                  <a:gd name="T6" fmla="*/ 0 w 1186"/>
                  <a:gd name="T7" fmla="*/ 0 h 529"/>
                  <a:gd name="T8" fmla="*/ 0 w 1186"/>
                  <a:gd name="T9" fmla="*/ 0 h 529"/>
                  <a:gd name="T10" fmla="*/ 0 w 1186"/>
                  <a:gd name="T11" fmla="*/ 0 h 529"/>
                  <a:gd name="T12" fmla="*/ 0 w 1186"/>
                  <a:gd name="T13" fmla="*/ 0 h 529"/>
                  <a:gd name="T14" fmla="*/ 0 w 1186"/>
                  <a:gd name="T15" fmla="*/ 0 h 529"/>
                  <a:gd name="T16" fmla="*/ 0 w 1186"/>
                  <a:gd name="T17" fmla="*/ 0 h 529"/>
                  <a:gd name="T18" fmla="*/ 0 w 1186"/>
                  <a:gd name="T19" fmla="*/ 0 h 529"/>
                  <a:gd name="T20" fmla="*/ 0 w 1186"/>
                  <a:gd name="T21" fmla="*/ 0 h 529"/>
                  <a:gd name="T22" fmla="*/ 0 w 1186"/>
                  <a:gd name="T23" fmla="*/ 0 h 529"/>
                  <a:gd name="T24" fmla="*/ 0 w 1186"/>
                  <a:gd name="T25" fmla="*/ 0 h 529"/>
                  <a:gd name="T26" fmla="*/ 0 w 1186"/>
                  <a:gd name="T27" fmla="*/ 0 h 529"/>
                  <a:gd name="T28" fmla="*/ 0 w 1186"/>
                  <a:gd name="T29" fmla="*/ 0 h 529"/>
                  <a:gd name="T30" fmla="*/ 0 w 1186"/>
                  <a:gd name="T31" fmla="*/ 0 h 529"/>
                  <a:gd name="T32" fmla="*/ 0 w 1186"/>
                  <a:gd name="T33" fmla="*/ 0 h 529"/>
                  <a:gd name="T34" fmla="*/ 0 w 1186"/>
                  <a:gd name="T35" fmla="*/ 0 h 529"/>
                  <a:gd name="T36" fmla="*/ 0 w 1186"/>
                  <a:gd name="T37" fmla="*/ 0 h 529"/>
                  <a:gd name="T38" fmla="*/ 0 w 1186"/>
                  <a:gd name="T39" fmla="*/ 0 h 529"/>
                  <a:gd name="T40" fmla="*/ 0 w 1186"/>
                  <a:gd name="T41" fmla="*/ 0 h 529"/>
                  <a:gd name="T42" fmla="*/ 0 w 1186"/>
                  <a:gd name="T43" fmla="*/ 0 h 529"/>
                  <a:gd name="T44" fmla="*/ 0 w 1186"/>
                  <a:gd name="T45" fmla="*/ 0 h 529"/>
                  <a:gd name="T46" fmla="*/ 0 w 1186"/>
                  <a:gd name="T47" fmla="*/ 0 h 529"/>
                  <a:gd name="T48" fmla="*/ 0 w 1186"/>
                  <a:gd name="T49" fmla="*/ 0 h 529"/>
                  <a:gd name="T50" fmla="*/ 0 w 1186"/>
                  <a:gd name="T51" fmla="*/ 0 h 529"/>
                  <a:gd name="T52" fmla="*/ 0 w 1186"/>
                  <a:gd name="T53" fmla="*/ 0 h 529"/>
                  <a:gd name="T54" fmla="*/ 0 w 1186"/>
                  <a:gd name="T55" fmla="*/ 0 h 529"/>
                  <a:gd name="T56" fmla="*/ 0 w 1186"/>
                  <a:gd name="T57" fmla="*/ 0 h 529"/>
                  <a:gd name="T58" fmla="*/ 0 w 1186"/>
                  <a:gd name="T59" fmla="*/ 0 h 529"/>
                  <a:gd name="T60" fmla="*/ 0 w 1186"/>
                  <a:gd name="T61" fmla="*/ 0 h 529"/>
                  <a:gd name="T62" fmla="*/ 0 w 1186"/>
                  <a:gd name="T63" fmla="*/ 0 h 5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86"/>
                  <a:gd name="T97" fmla="*/ 0 h 529"/>
                  <a:gd name="T98" fmla="*/ 1186 w 1186"/>
                  <a:gd name="T99" fmla="*/ 529 h 5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86" h="529">
                    <a:moveTo>
                      <a:pt x="23" y="529"/>
                    </a:moveTo>
                    <a:lnTo>
                      <a:pt x="8" y="522"/>
                    </a:lnTo>
                    <a:lnTo>
                      <a:pt x="0" y="501"/>
                    </a:lnTo>
                    <a:lnTo>
                      <a:pt x="0" y="488"/>
                    </a:lnTo>
                    <a:lnTo>
                      <a:pt x="8" y="459"/>
                    </a:lnTo>
                    <a:lnTo>
                      <a:pt x="83" y="428"/>
                    </a:lnTo>
                    <a:lnTo>
                      <a:pt x="130" y="425"/>
                    </a:lnTo>
                    <a:lnTo>
                      <a:pt x="161" y="434"/>
                    </a:lnTo>
                    <a:lnTo>
                      <a:pt x="185" y="453"/>
                    </a:lnTo>
                    <a:lnTo>
                      <a:pt x="172" y="416"/>
                    </a:lnTo>
                    <a:lnTo>
                      <a:pt x="254" y="387"/>
                    </a:lnTo>
                    <a:lnTo>
                      <a:pt x="268" y="416"/>
                    </a:lnTo>
                    <a:lnTo>
                      <a:pt x="300" y="440"/>
                    </a:lnTo>
                    <a:lnTo>
                      <a:pt x="282" y="381"/>
                    </a:lnTo>
                    <a:lnTo>
                      <a:pt x="411" y="349"/>
                    </a:lnTo>
                    <a:lnTo>
                      <a:pt x="469" y="335"/>
                    </a:lnTo>
                    <a:lnTo>
                      <a:pt x="507" y="363"/>
                    </a:lnTo>
                    <a:lnTo>
                      <a:pt x="507" y="320"/>
                    </a:lnTo>
                    <a:lnTo>
                      <a:pt x="574" y="305"/>
                    </a:lnTo>
                    <a:lnTo>
                      <a:pt x="613" y="291"/>
                    </a:lnTo>
                    <a:lnTo>
                      <a:pt x="652" y="305"/>
                    </a:lnTo>
                    <a:lnTo>
                      <a:pt x="646" y="274"/>
                    </a:lnTo>
                    <a:lnTo>
                      <a:pt x="714" y="254"/>
                    </a:lnTo>
                    <a:lnTo>
                      <a:pt x="756" y="268"/>
                    </a:lnTo>
                    <a:lnTo>
                      <a:pt x="756" y="229"/>
                    </a:lnTo>
                    <a:lnTo>
                      <a:pt x="855" y="201"/>
                    </a:lnTo>
                    <a:lnTo>
                      <a:pt x="895" y="216"/>
                    </a:lnTo>
                    <a:lnTo>
                      <a:pt x="889" y="187"/>
                    </a:lnTo>
                    <a:lnTo>
                      <a:pt x="962" y="158"/>
                    </a:lnTo>
                    <a:lnTo>
                      <a:pt x="1004" y="150"/>
                    </a:lnTo>
                    <a:lnTo>
                      <a:pt x="995" y="134"/>
                    </a:lnTo>
                    <a:lnTo>
                      <a:pt x="1056" y="101"/>
                    </a:lnTo>
                    <a:lnTo>
                      <a:pt x="1186" y="0"/>
                    </a:lnTo>
                    <a:lnTo>
                      <a:pt x="1076" y="95"/>
                    </a:lnTo>
                    <a:lnTo>
                      <a:pt x="1020" y="134"/>
                    </a:lnTo>
                    <a:lnTo>
                      <a:pt x="1029" y="153"/>
                    </a:lnTo>
                    <a:lnTo>
                      <a:pt x="962" y="168"/>
                    </a:lnTo>
                    <a:lnTo>
                      <a:pt x="904" y="196"/>
                    </a:lnTo>
                    <a:lnTo>
                      <a:pt x="914" y="225"/>
                    </a:lnTo>
                    <a:lnTo>
                      <a:pt x="861" y="211"/>
                    </a:lnTo>
                    <a:lnTo>
                      <a:pt x="766" y="238"/>
                    </a:lnTo>
                    <a:lnTo>
                      <a:pt x="779" y="291"/>
                    </a:lnTo>
                    <a:lnTo>
                      <a:pt x="717" y="263"/>
                    </a:lnTo>
                    <a:lnTo>
                      <a:pt x="659" y="281"/>
                    </a:lnTo>
                    <a:lnTo>
                      <a:pt x="665" y="326"/>
                    </a:lnTo>
                    <a:lnTo>
                      <a:pt x="617" y="312"/>
                    </a:lnTo>
                    <a:lnTo>
                      <a:pt x="516" y="335"/>
                    </a:lnTo>
                    <a:lnTo>
                      <a:pt x="521" y="387"/>
                    </a:lnTo>
                    <a:lnTo>
                      <a:pt x="487" y="363"/>
                    </a:lnTo>
                    <a:lnTo>
                      <a:pt x="458" y="400"/>
                    </a:lnTo>
                    <a:lnTo>
                      <a:pt x="479" y="354"/>
                    </a:lnTo>
                    <a:lnTo>
                      <a:pt x="469" y="343"/>
                    </a:lnTo>
                    <a:lnTo>
                      <a:pt x="297" y="387"/>
                    </a:lnTo>
                    <a:lnTo>
                      <a:pt x="320" y="459"/>
                    </a:lnTo>
                    <a:lnTo>
                      <a:pt x="268" y="425"/>
                    </a:lnTo>
                    <a:lnTo>
                      <a:pt x="248" y="400"/>
                    </a:lnTo>
                    <a:lnTo>
                      <a:pt x="193" y="425"/>
                    </a:lnTo>
                    <a:lnTo>
                      <a:pt x="200" y="470"/>
                    </a:lnTo>
                    <a:lnTo>
                      <a:pt x="144" y="444"/>
                    </a:lnTo>
                    <a:lnTo>
                      <a:pt x="109" y="440"/>
                    </a:lnTo>
                    <a:lnTo>
                      <a:pt x="57" y="449"/>
                    </a:lnTo>
                    <a:lnTo>
                      <a:pt x="19" y="483"/>
                    </a:lnTo>
                    <a:lnTo>
                      <a:pt x="13" y="507"/>
                    </a:lnTo>
                    <a:lnTo>
                      <a:pt x="23" y="529"/>
                    </a:lnTo>
                    <a:close/>
                  </a:path>
                </a:pathLst>
              </a:custGeom>
              <a:solidFill>
                <a:srgbClr val="000000"/>
              </a:solidFill>
              <a:ln w="9525">
                <a:noFill/>
                <a:round/>
                <a:headEnd/>
                <a:tailEnd/>
              </a:ln>
            </p:spPr>
            <p:txBody>
              <a:bodyPr/>
              <a:lstStyle/>
              <a:p>
                <a:endParaRPr lang="fr-FR"/>
              </a:p>
            </p:txBody>
          </p:sp>
          <p:sp>
            <p:nvSpPr>
              <p:cNvPr id="10294" name="Freeform 1054"/>
              <p:cNvSpPr>
                <a:spLocks/>
              </p:cNvSpPr>
              <p:nvPr/>
            </p:nvSpPr>
            <p:spPr bwMode="auto">
              <a:xfrm>
                <a:off x="3921" y="1919"/>
                <a:ext cx="82" cy="40"/>
              </a:xfrm>
              <a:custGeom>
                <a:avLst/>
                <a:gdLst>
                  <a:gd name="T0" fmla="*/ 0 w 244"/>
                  <a:gd name="T1" fmla="*/ 0 h 119"/>
                  <a:gd name="T2" fmla="*/ 0 w 244"/>
                  <a:gd name="T3" fmla="*/ 0 h 119"/>
                  <a:gd name="T4" fmla="*/ 0 w 244"/>
                  <a:gd name="T5" fmla="*/ 0 h 119"/>
                  <a:gd name="T6" fmla="*/ 0 w 244"/>
                  <a:gd name="T7" fmla="*/ 0 h 119"/>
                  <a:gd name="T8" fmla="*/ 0 w 244"/>
                  <a:gd name="T9" fmla="*/ 0 h 119"/>
                  <a:gd name="T10" fmla="*/ 0 w 244"/>
                  <a:gd name="T11" fmla="*/ 0 h 119"/>
                  <a:gd name="T12" fmla="*/ 0 w 244"/>
                  <a:gd name="T13" fmla="*/ 0 h 119"/>
                  <a:gd name="T14" fmla="*/ 0 w 244"/>
                  <a:gd name="T15" fmla="*/ 0 h 119"/>
                  <a:gd name="T16" fmla="*/ 0 w 244"/>
                  <a:gd name="T17" fmla="*/ 0 h 119"/>
                  <a:gd name="T18" fmla="*/ 0 w 244"/>
                  <a:gd name="T19" fmla="*/ 0 h 119"/>
                  <a:gd name="T20" fmla="*/ 0 w 244"/>
                  <a:gd name="T21" fmla="*/ 0 h 119"/>
                  <a:gd name="T22" fmla="*/ 0 w 244"/>
                  <a:gd name="T23" fmla="*/ 0 h 119"/>
                  <a:gd name="T24" fmla="*/ 0 w 244"/>
                  <a:gd name="T25" fmla="*/ 0 h 119"/>
                  <a:gd name="T26" fmla="*/ 0 w 244"/>
                  <a:gd name="T27" fmla="*/ 0 h 119"/>
                  <a:gd name="T28" fmla="*/ 0 w 244"/>
                  <a:gd name="T29" fmla="*/ 0 h 119"/>
                  <a:gd name="T30" fmla="*/ 0 w 244"/>
                  <a:gd name="T31" fmla="*/ 0 h 119"/>
                  <a:gd name="T32" fmla="*/ 0 w 244"/>
                  <a:gd name="T33" fmla="*/ 0 h 119"/>
                  <a:gd name="T34" fmla="*/ 0 w 244"/>
                  <a:gd name="T35" fmla="*/ 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4"/>
                  <a:gd name="T55" fmla="*/ 0 h 119"/>
                  <a:gd name="T56" fmla="*/ 244 w 244"/>
                  <a:gd name="T57" fmla="*/ 119 h 1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4" h="119">
                    <a:moveTo>
                      <a:pt x="244" y="68"/>
                    </a:moveTo>
                    <a:lnTo>
                      <a:pt x="202" y="89"/>
                    </a:lnTo>
                    <a:lnTo>
                      <a:pt x="144" y="110"/>
                    </a:lnTo>
                    <a:lnTo>
                      <a:pt x="97" y="116"/>
                    </a:lnTo>
                    <a:lnTo>
                      <a:pt x="54" y="119"/>
                    </a:lnTo>
                    <a:lnTo>
                      <a:pt x="0" y="110"/>
                    </a:lnTo>
                    <a:lnTo>
                      <a:pt x="13" y="68"/>
                    </a:lnTo>
                    <a:lnTo>
                      <a:pt x="19" y="27"/>
                    </a:lnTo>
                    <a:lnTo>
                      <a:pt x="24" y="0"/>
                    </a:lnTo>
                    <a:lnTo>
                      <a:pt x="33" y="6"/>
                    </a:lnTo>
                    <a:lnTo>
                      <a:pt x="24" y="58"/>
                    </a:lnTo>
                    <a:lnTo>
                      <a:pt x="13" y="105"/>
                    </a:lnTo>
                    <a:lnTo>
                      <a:pt x="54" y="110"/>
                    </a:lnTo>
                    <a:lnTo>
                      <a:pt x="119" y="105"/>
                    </a:lnTo>
                    <a:lnTo>
                      <a:pt x="186" y="86"/>
                    </a:lnTo>
                    <a:lnTo>
                      <a:pt x="211" y="61"/>
                    </a:lnTo>
                    <a:lnTo>
                      <a:pt x="244" y="68"/>
                    </a:lnTo>
                    <a:close/>
                  </a:path>
                </a:pathLst>
              </a:custGeom>
              <a:solidFill>
                <a:srgbClr val="000000"/>
              </a:solidFill>
              <a:ln w="9525">
                <a:noFill/>
                <a:round/>
                <a:headEnd/>
                <a:tailEnd/>
              </a:ln>
            </p:spPr>
            <p:txBody>
              <a:bodyPr/>
              <a:lstStyle/>
              <a:p>
                <a:endParaRPr lang="fr-FR"/>
              </a:p>
            </p:txBody>
          </p:sp>
          <p:sp>
            <p:nvSpPr>
              <p:cNvPr id="10295" name="Freeform 1055"/>
              <p:cNvSpPr>
                <a:spLocks/>
              </p:cNvSpPr>
              <p:nvPr/>
            </p:nvSpPr>
            <p:spPr bwMode="auto">
              <a:xfrm>
                <a:off x="3883" y="1933"/>
                <a:ext cx="8" cy="23"/>
              </a:xfrm>
              <a:custGeom>
                <a:avLst/>
                <a:gdLst>
                  <a:gd name="T0" fmla="*/ 0 w 23"/>
                  <a:gd name="T1" fmla="*/ 0 h 67"/>
                  <a:gd name="T2" fmla="*/ 0 w 23"/>
                  <a:gd name="T3" fmla="*/ 0 h 67"/>
                  <a:gd name="T4" fmla="*/ 0 w 23"/>
                  <a:gd name="T5" fmla="*/ 0 h 67"/>
                  <a:gd name="T6" fmla="*/ 0 w 23"/>
                  <a:gd name="T7" fmla="*/ 0 h 67"/>
                  <a:gd name="T8" fmla="*/ 0 w 23"/>
                  <a:gd name="T9" fmla="*/ 0 h 67"/>
                  <a:gd name="T10" fmla="*/ 0 60000 65536"/>
                  <a:gd name="T11" fmla="*/ 0 60000 65536"/>
                  <a:gd name="T12" fmla="*/ 0 60000 65536"/>
                  <a:gd name="T13" fmla="*/ 0 60000 65536"/>
                  <a:gd name="T14" fmla="*/ 0 60000 65536"/>
                  <a:gd name="T15" fmla="*/ 0 w 23"/>
                  <a:gd name="T16" fmla="*/ 0 h 67"/>
                  <a:gd name="T17" fmla="*/ 23 w 23"/>
                  <a:gd name="T18" fmla="*/ 67 h 67"/>
                </a:gdLst>
                <a:ahLst/>
                <a:cxnLst>
                  <a:cxn ang="T10">
                    <a:pos x="T0" y="T1"/>
                  </a:cxn>
                  <a:cxn ang="T11">
                    <a:pos x="T2" y="T3"/>
                  </a:cxn>
                  <a:cxn ang="T12">
                    <a:pos x="T4" y="T5"/>
                  </a:cxn>
                  <a:cxn ang="T13">
                    <a:pos x="T6" y="T7"/>
                  </a:cxn>
                  <a:cxn ang="T14">
                    <a:pos x="T8" y="T9"/>
                  </a:cxn>
                </a:cxnLst>
                <a:rect l="T15" t="T16" r="T17" b="T18"/>
                <a:pathLst>
                  <a:path w="23" h="67">
                    <a:moveTo>
                      <a:pt x="23" y="67"/>
                    </a:moveTo>
                    <a:lnTo>
                      <a:pt x="0" y="9"/>
                    </a:lnTo>
                    <a:lnTo>
                      <a:pt x="13" y="0"/>
                    </a:lnTo>
                    <a:lnTo>
                      <a:pt x="23" y="67"/>
                    </a:lnTo>
                    <a:close/>
                  </a:path>
                </a:pathLst>
              </a:custGeom>
              <a:solidFill>
                <a:srgbClr val="000000"/>
              </a:solidFill>
              <a:ln w="9525">
                <a:noFill/>
                <a:round/>
                <a:headEnd/>
                <a:tailEnd/>
              </a:ln>
            </p:spPr>
            <p:txBody>
              <a:bodyPr/>
              <a:lstStyle/>
              <a:p>
                <a:endParaRPr lang="fr-FR"/>
              </a:p>
            </p:txBody>
          </p:sp>
          <p:sp>
            <p:nvSpPr>
              <p:cNvPr id="10296" name="Freeform 1056"/>
              <p:cNvSpPr>
                <a:spLocks/>
              </p:cNvSpPr>
              <p:nvPr/>
            </p:nvSpPr>
            <p:spPr bwMode="auto">
              <a:xfrm>
                <a:off x="3890" y="1923"/>
                <a:ext cx="31" cy="33"/>
              </a:xfrm>
              <a:custGeom>
                <a:avLst/>
                <a:gdLst>
                  <a:gd name="T0" fmla="*/ 0 w 95"/>
                  <a:gd name="T1" fmla="*/ 0 h 97"/>
                  <a:gd name="T2" fmla="*/ 0 w 95"/>
                  <a:gd name="T3" fmla="*/ 0 h 97"/>
                  <a:gd name="T4" fmla="*/ 0 w 95"/>
                  <a:gd name="T5" fmla="*/ 0 h 97"/>
                  <a:gd name="T6" fmla="*/ 0 w 95"/>
                  <a:gd name="T7" fmla="*/ 0 h 97"/>
                  <a:gd name="T8" fmla="*/ 0 w 95"/>
                  <a:gd name="T9" fmla="*/ 0 h 97"/>
                  <a:gd name="T10" fmla="*/ 0 w 95"/>
                  <a:gd name="T11" fmla="*/ 0 h 97"/>
                  <a:gd name="T12" fmla="*/ 0 w 95"/>
                  <a:gd name="T13" fmla="*/ 0 h 97"/>
                  <a:gd name="T14" fmla="*/ 0 w 95"/>
                  <a:gd name="T15" fmla="*/ 0 h 97"/>
                  <a:gd name="T16" fmla="*/ 0 w 95"/>
                  <a:gd name="T17" fmla="*/ 0 h 97"/>
                  <a:gd name="T18" fmla="*/ 0 w 95"/>
                  <a:gd name="T19" fmla="*/ 0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
                  <a:gd name="T31" fmla="*/ 0 h 97"/>
                  <a:gd name="T32" fmla="*/ 95 w 95"/>
                  <a:gd name="T33" fmla="*/ 97 h 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 h="97">
                    <a:moveTo>
                      <a:pt x="7" y="97"/>
                    </a:moveTo>
                    <a:lnTo>
                      <a:pt x="42" y="73"/>
                    </a:lnTo>
                    <a:lnTo>
                      <a:pt x="65" y="48"/>
                    </a:lnTo>
                    <a:lnTo>
                      <a:pt x="95" y="0"/>
                    </a:lnTo>
                    <a:lnTo>
                      <a:pt x="86" y="6"/>
                    </a:lnTo>
                    <a:lnTo>
                      <a:pt x="65" y="35"/>
                    </a:lnTo>
                    <a:lnTo>
                      <a:pt x="37" y="58"/>
                    </a:lnTo>
                    <a:lnTo>
                      <a:pt x="0" y="82"/>
                    </a:lnTo>
                    <a:lnTo>
                      <a:pt x="7" y="97"/>
                    </a:lnTo>
                    <a:close/>
                  </a:path>
                </a:pathLst>
              </a:custGeom>
              <a:solidFill>
                <a:srgbClr val="000000"/>
              </a:solidFill>
              <a:ln w="9525">
                <a:noFill/>
                <a:round/>
                <a:headEnd/>
                <a:tailEnd/>
              </a:ln>
            </p:spPr>
            <p:txBody>
              <a:bodyPr/>
              <a:lstStyle/>
              <a:p>
                <a:endParaRPr lang="fr-FR"/>
              </a:p>
            </p:txBody>
          </p:sp>
          <p:sp>
            <p:nvSpPr>
              <p:cNvPr id="10297" name="Freeform 1057"/>
              <p:cNvSpPr>
                <a:spLocks/>
              </p:cNvSpPr>
              <p:nvPr/>
            </p:nvSpPr>
            <p:spPr bwMode="auto">
              <a:xfrm>
                <a:off x="3920" y="1897"/>
                <a:ext cx="11" cy="16"/>
              </a:xfrm>
              <a:custGeom>
                <a:avLst/>
                <a:gdLst>
                  <a:gd name="T0" fmla="*/ 0 w 34"/>
                  <a:gd name="T1" fmla="*/ 0 h 49"/>
                  <a:gd name="T2" fmla="*/ 0 w 34"/>
                  <a:gd name="T3" fmla="*/ 0 h 49"/>
                  <a:gd name="T4" fmla="*/ 0 w 34"/>
                  <a:gd name="T5" fmla="*/ 0 h 49"/>
                  <a:gd name="T6" fmla="*/ 0 w 34"/>
                  <a:gd name="T7" fmla="*/ 0 h 49"/>
                  <a:gd name="T8" fmla="*/ 0 w 34"/>
                  <a:gd name="T9" fmla="*/ 0 h 49"/>
                  <a:gd name="T10" fmla="*/ 0 w 34"/>
                  <a:gd name="T11" fmla="*/ 0 h 49"/>
                  <a:gd name="T12" fmla="*/ 0 w 34"/>
                  <a:gd name="T13" fmla="*/ 0 h 49"/>
                  <a:gd name="T14" fmla="*/ 0 w 34"/>
                  <a:gd name="T15" fmla="*/ 0 h 49"/>
                  <a:gd name="T16" fmla="*/ 0 w 34"/>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49"/>
                  <a:gd name="T29" fmla="*/ 34 w 34"/>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49">
                    <a:moveTo>
                      <a:pt x="0" y="49"/>
                    </a:moveTo>
                    <a:lnTo>
                      <a:pt x="0" y="5"/>
                    </a:lnTo>
                    <a:lnTo>
                      <a:pt x="17" y="0"/>
                    </a:lnTo>
                    <a:lnTo>
                      <a:pt x="34" y="43"/>
                    </a:lnTo>
                    <a:lnTo>
                      <a:pt x="23" y="39"/>
                    </a:lnTo>
                    <a:lnTo>
                      <a:pt x="13" y="19"/>
                    </a:lnTo>
                    <a:lnTo>
                      <a:pt x="9" y="43"/>
                    </a:lnTo>
                    <a:lnTo>
                      <a:pt x="0" y="49"/>
                    </a:lnTo>
                    <a:close/>
                  </a:path>
                </a:pathLst>
              </a:custGeom>
              <a:solidFill>
                <a:srgbClr val="000000"/>
              </a:solidFill>
              <a:ln w="9525">
                <a:noFill/>
                <a:round/>
                <a:headEnd/>
                <a:tailEnd/>
              </a:ln>
            </p:spPr>
            <p:txBody>
              <a:bodyPr/>
              <a:lstStyle/>
              <a:p>
                <a:endParaRPr lang="fr-FR"/>
              </a:p>
            </p:txBody>
          </p:sp>
          <p:sp>
            <p:nvSpPr>
              <p:cNvPr id="10298" name="Freeform 1058"/>
              <p:cNvSpPr>
                <a:spLocks/>
              </p:cNvSpPr>
              <p:nvPr/>
            </p:nvSpPr>
            <p:spPr bwMode="auto">
              <a:xfrm>
                <a:off x="3918" y="1868"/>
                <a:ext cx="216" cy="181"/>
              </a:xfrm>
              <a:custGeom>
                <a:avLst/>
                <a:gdLst>
                  <a:gd name="T0" fmla="*/ 0 w 648"/>
                  <a:gd name="T1" fmla="*/ 0 h 543"/>
                  <a:gd name="T2" fmla="*/ 0 w 648"/>
                  <a:gd name="T3" fmla="*/ 0 h 543"/>
                  <a:gd name="T4" fmla="*/ 0 w 648"/>
                  <a:gd name="T5" fmla="*/ 0 h 543"/>
                  <a:gd name="T6" fmla="*/ 0 w 648"/>
                  <a:gd name="T7" fmla="*/ 0 h 543"/>
                  <a:gd name="T8" fmla="*/ 0 w 648"/>
                  <a:gd name="T9" fmla="*/ 0 h 543"/>
                  <a:gd name="T10" fmla="*/ 0 w 648"/>
                  <a:gd name="T11" fmla="*/ 0 h 543"/>
                  <a:gd name="T12" fmla="*/ 0 w 648"/>
                  <a:gd name="T13" fmla="*/ 0 h 543"/>
                  <a:gd name="T14" fmla="*/ 0 w 648"/>
                  <a:gd name="T15" fmla="*/ 0 h 543"/>
                  <a:gd name="T16" fmla="*/ 0 w 648"/>
                  <a:gd name="T17" fmla="*/ 0 h 543"/>
                  <a:gd name="T18" fmla="*/ 0 w 648"/>
                  <a:gd name="T19" fmla="*/ 0 h 543"/>
                  <a:gd name="T20" fmla="*/ 0 w 648"/>
                  <a:gd name="T21" fmla="*/ 0 h 543"/>
                  <a:gd name="T22" fmla="*/ 0 w 648"/>
                  <a:gd name="T23" fmla="*/ 0 h 543"/>
                  <a:gd name="T24" fmla="*/ 0 w 648"/>
                  <a:gd name="T25" fmla="*/ 0 h 543"/>
                  <a:gd name="T26" fmla="*/ 0 w 648"/>
                  <a:gd name="T27" fmla="*/ 0 h 543"/>
                  <a:gd name="T28" fmla="*/ 0 w 648"/>
                  <a:gd name="T29" fmla="*/ 0 h 543"/>
                  <a:gd name="T30" fmla="*/ 0 w 648"/>
                  <a:gd name="T31" fmla="*/ 0 h 543"/>
                  <a:gd name="T32" fmla="*/ 0 w 648"/>
                  <a:gd name="T33" fmla="*/ 0 h 543"/>
                  <a:gd name="T34" fmla="*/ 0 w 648"/>
                  <a:gd name="T35" fmla="*/ 0 h 543"/>
                  <a:gd name="T36" fmla="*/ 0 w 648"/>
                  <a:gd name="T37" fmla="*/ 0 h 543"/>
                  <a:gd name="T38" fmla="*/ 0 w 648"/>
                  <a:gd name="T39" fmla="*/ 0 h 543"/>
                  <a:gd name="T40" fmla="*/ 0 w 648"/>
                  <a:gd name="T41" fmla="*/ 0 h 543"/>
                  <a:gd name="T42" fmla="*/ 0 w 648"/>
                  <a:gd name="T43" fmla="*/ 0 h 543"/>
                  <a:gd name="T44" fmla="*/ 0 w 648"/>
                  <a:gd name="T45" fmla="*/ 0 h 543"/>
                  <a:gd name="T46" fmla="*/ 0 w 648"/>
                  <a:gd name="T47" fmla="*/ 0 h 543"/>
                  <a:gd name="T48" fmla="*/ 0 w 648"/>
                  <a:gd name="T49" fmla="*/ 0 h 543"/>
                  <a:gd name="T50" fmla="*/ 0 w 648"/>
                  <a:gd name="T51" fmla="*/ 0 h 543"/>
                  <a:gd name="T52" fmla="*/ 0 w 648"/>
                  <a:gd name="T53" fmla="*/ 0 h 543"/>
                  <a:gd name="T54" fmla="*/ 0 w 648"/>
                  <a:gd name="T55" fmla="*/ 0 h 543"/>
                  <a:gd name="T56" fmla="*/ 0 w 648"/>
                  <a:gd name="T57" fmla="*/ 0 h 543"/>
                  <a:gd name="T58" fmla="*/ 0 w 648"/>
                  <a:gd name="T59" fmla="*/ 0 h 543"/>
                  <a:gd name="T60" fmla="*/ 0 w 648"/>
                  <a:gd name="T61" fmla="*/ 0 h 543"/>
                  <a:gd name="T62" fmla="*/ 0 w 648"/>
                  <a:gd name="T63" fmla="*/ 0 h 543"/>
                  <a:gd name="T64" fmla="*/ 0 w 648"/>
                  <a:gd name="T65" fmla="*/ 0 h 543"/>
                  <a:gd name="T66" fmla="*/ 0 w 648"/>
                  <a:gd name="T67" fmla="*/ 0 h 543"/>
                  <a:gd name="T68" fmla="*/ 0 w 648"/>
                  <a:gd name="T69" fmla="*/ 0 h 543"/>
                  <a:gd name="T70" fmla="*/ 0 w 648"/>
                  <a:gd name="T71" fmla="*/ 0 h 543"/>
                  <a:gd name="T72" fmla="*/ 0 w 648"/>
                  <a:gd name="T73" fmla="*/ 0 h 543"/>
                  <a:gd name="T74" fmla="*/ 0 w 648"/>
                  <a:gd name="T75" fmla="*/ 0 h 543"/>
                  <a:gd name="T76" fmla="*/ 0 w 648"/>
                  <a:gd name="T77" fmla="*/ 0 h 543"/>
                  <a:gd name="T78" fmla="*/ 0 w 648"/>
                  <a:gd name="T79" fmla="*/ 0 h 543"/>
                  <a:gd name="T80" fmla="*/ 0 w 648"/>
                  <a:gd name="T81" fmla="*/ 0 h 543"/>
                  <a:gd name="T82" fmla="*/ 0 w 648"/>
                  <a:gd name="T83" fmla="*/ 0 h 543"/>
                  <a:gd name="T84" fmla="*/ 0 w 648"/>
                  <a:gd name="T85" fmla="*/ 0 h 543"/>
                  <a:gd name="T86" fmla="*/ 0 w 648"/>
                  <a:gd name="T87" fmla="*/ 0 h 543"/>
                  <a:gd name="T88" fmla="*/ 0 w 648"/>
                  <a:gd name="T89" fmla="*/ 0 h 543"/>
                  <a:gd name="T90" fmla="*/ 0 w 648"/>
                  <a:gd name="T91" fmla="*/ 0 h 543"/>
                  <a:gd name="T92" fmla="*/ 0 w 648"/>
                  <a:gd name="T93" fmla="*/ 0 h 543"/>
                  <a:gd name="T94" fmla="*/ 0 w 648"/>
                  <a:gd name="T95" fmla="*/ 0 h 54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48"/>
                  <a:gd name="T145" fmla="*/ 0 h 543"/>
                  <a:gd name="T146" fmla="*/ 648 w 648"/>
                  <a:gd name="T147" fmla="*/ 543 h 54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48" h="543">
                    <a:moveTo>
                      <a:pt x="0" y="348"/>
                    </a:moveTo>
                    <a:lnTo>
                      <a:pt x="27" y="385"/>
                    </a:lnTo>
                    <a:lnTo>
                      <a:pt x="46" y="391"/>
                    </a:lnTo>
                    <a:lnTo>
                      <a:pt x="60" y="391"/>
                    </a:lnTo>
                    <a:lnTo>
                      <a:pt x="80" y="418"/>
                    </a:lnTo>
                    <a:lnTo>
                      <a:pt x="132" y="425"/>
                    </a:lnTo>
                    <a:lnTo>
                      <a:pt x="153" y="442"/>
                    </a:lnTo>
                    <a:lnTo>
                      <a:pt x="183" y="434"/>
                    </a:lnTo>
                    <a:lnTo>
                      <a:pt x="195" y="424"/>
                    </a:lnTo>
                    <a:lnTo>
                      <a:pt x="201" y="455"/>
                    </a:lnTo>
                    <a:lnTo>
                      <a:pt x="244" y="488"/>
                    </a:lnTo>
                    <a:lnTo>
                      <a:pt x="269" y="485"/>
                    </a:lnTo>
                    <a:lnTo>
                      <a:pt x="293" y="504"/>
                    </a:lnTo>
                    <a:lnTo>
                      <a:pt x="330" y="503"/>
                    </a:lnTo>
                    <a:lnTo>
                      <a:pt x="351" y="488"/>
                    </a:lnTo>
                    <a:lnTo>
                      <a:pt x="366" y="476"/>
                    </a:lnTo>
                    <a:lnTo>
                      <a:pt x="392" y="454"/>
                    </a:lnTo>
                    <a:lnTo>
                      <a:pt x="400" y="425"/>
                    </a:lnTo>
                    <a:lnTo>
                      <a:pt x="386" y="394"/>
                    </a:lnTo>
                    <a:lnTo>
                      <a:pt x="419" y="361"/>
                    </a:lnTo>
                    <a:lnTo>
                      <a:pt x="431" y="330"/>
                    </a:lnTo>
                    <a:lnTo>
                      <a:pt x="428" y="306"/>
                    </a:lnTo>
                    <a:lnTo>
                      <a:pt x="413" y="268"/>
                    </a:lnTo>
                    <a:lnTo>
                      <a:pt x="413" y="228"/>
                    </a:lnTo>
                    <a:lnTo>
                      <a:pt x="423" y="188"/>
                    </a:lnTo>
                    <a:lnTo>
                      <a:pt x="444" y="164"/>
                    </a:lnTo>
                    <a:lnTo>
                      <a:pt x="465" y="143"/>
                    </a:lnTo>
                    <a:lnTo>
                      <a:pt x="486" y="104"/>
                    </a:lnTo>
                    <a:lnTo>
                      <a:pt x="492" y="72"/>
                    </a:lnTo>
                    <a:lnTo>
                      <a:pt x="536" y="60"/>
                    </a:lnTo>
                    <a:lnTo>
                      <a:pt x="545" y="48"/>
                    </a:lnTo>
                    <a:lnTo>
                      <a:pt x="591" y="32"/>
                    </a:lnTo>
                    <a:lnTo>
                      <a:pt x="625" y="0"/>
                    </a:lnTo>
                    <a:lnTo>
                      <a:pt x="648" y="88"/>
                    </a:lnTo>
                    <a:lnTo>
                      <a:pt x="628" y="104"/>
                    </a:lnTo>
                    <a:lnTo>
                      <a:pt x="621" y="30"/>
                    </a:lnTo>
                    <a:lnTo>
                      <a:pt x="600" y="55"/>
                    </a:lnTo>
                    <a:lnTo>
                      <a:pt x="575" y="55"/>
                    </a:lnTo>
                    <a:lnTo>
                      <a:pt x="560" y="97"/>
                    </a:lnTo>
                    <a:lnTo>
                      <a:pt x="545" y="109"/>
                    </a:lnTo>
                    <a:lnTo>
                      <a:pt x="553" y="152"/>
                    </a:lnTo>
                    <a:lnTo>
                      <a:pt x="545" y="176"/>
                    </a:lnTo>
                    <a:lnTo>
                      <a:pt x="545" y="146"/>
                    </a:lnTo>
                    <a:lnTo>
                      <a:pt x="536" y="109"/>
                    </a:lnTo>
                    <a:lnTo>
                      <a:pt x="539" y="88"/>
                    </a:lnTo>
                    <a:lnTo>
                      <a:pt x="527" y="75"/>
                    </a:lnTo>
                    <a:lnTo>
                      <a:pt x="499" y="91"/>
                    </a:lnTo>
                    <a:lnTo>
                      <a:pt x="501" y="128"/>
                    </a:lnTo>
                    <a:lnTo>
                      <a:pt x="489" y="143"/>
                    </a:lnTo>
                    <a:lnTo>
                      <a:pt x="492" y="173"/>
                    </a:lnTo>
                    <a:lnTo>
                      <a:pt x="484" y="185"/>
                    </a:lnTo>
                    <a:lnTo>
                      <a:pt x="464" y="179"/>
                    </a:lnTo>
                    <a:lnTo>
                      <a:pt x="452" y="197"/>
                    </a:lnTo>
                    <a:lnTo>
                      <a:pt x="461" y="216"/>
                    </a:lnTo>
                    <a:lnTo>
                      <a:pt x="464" y="249"/>
                    </a:lnTo>
                    <a:lnTo>
                      <a:pt x="455" y="274"/>
                    </a:lnTo>
                    <a:lnTo>
                      <a:pt x="486" y="289"/>
                    </a:lnTo>
                    <a:lnTo>
                      <a:pt x="452" y="289"/>
                    </a:lnTo>
                    <a:lnTo>
                      <a:pt x="443" y="335"/>
                    </a:lnTo>
                    <a:lnTo>
                      <a:pt x="461" y="364"/>
                    </a:lnTo>
                    <a:lnTo>
                      <a:pt x="461" y="397"/>
                    </a:lnTo>
                    <a:lnTo>
                      <a:pt x="475" y="421"/>
                    </a:lnTo>
                    <a:lnTo>
                      <a:pt x="464" y="458"/>
                    </a:lnTo>
                    <a:lnTo>
                      <a:pt x="464" y="424"/>
                    </a:lnTo>
                    <a:lnTo>
                      <a:pt x="455" y="406"/>
                    </a:lnTo>
                    <a:lnTo>
                      <a:pt x="440" y="388"/>
                    </a:lnTo>
                    <a:lnTo>
                      <a:pt x="434" y="357"/>
                    </a:lnTo>
                    <a:lnTo>
                      <a:pt x="423" y="376"/>
                    </a:lnTo>
                    <a:lnTo>
                      <a:pt x="404" y="391"/>
                    </a:lnTo>
                    <a:lnTo>
                      <a:pt x="423" y="424"/>
                    </a:lnTo>
                    <a:lnTo>
                      <a:pt x="413" y="449"/>
                    </a:lnTo>
                    <a:lnTo>
                      <a:pt x="401" y="470"/>
                    </a:lnTo>
                    <a:lnTo>
                      <a:pt x="404" y="498"/>
                    </a:lnTo>
                    <a:lnTo>
                      <a:pt x="380" y="537"/>
                    </a:lnTo>
                    <a:lnTo>
                      <a:pt x="337" y="517"/>
                    </a:lnTo>
                    <a:lnTo>
                      <a:pt x="328" y="543"/>
                    </a:lnTo>
                    <a:lnTo>
                      <a:pt x="293" y="543"/>
                    </a:lnTo>
                    <a:lnTo>
                      <a:pt x="276" y="510"/>
                    </a:lnTo>
                    <a:lnTo>
                      <a:pt x="268" y="498"/>
                    </a:lnTo>
                    <a:lnTo>
                      <a:pt x="248" y="498"/>
                    </a:lnTo>
                    <a:lnTo>
                      <a:pt x="226" y="488"/>
                    </a:lnTo>
                    <a:lnTo>
                      <a:pt x="218" y="504"/>
                    </a:lnTo>
                    <a:lnTo>
                      <a:pt x="223" y="540"/>
                    </a:lnTo>
                    <a:lnTo>
                      <a:pt x="204" y="517"/>
                    </a:lnTo>
                    <a:lnTo>
                      <a:pt x="196" y="491"/>
                    </a:lnTo>
                    <a:lnTo>
                      <a:pt x="174" y="470"/>
                    </a:lnTo>
                    <a:lnTo>
                      <a:pt x="153" y="479"/>
                    </a:lnTo>
                    <a:lnTo>
                      <a:pt x="134" y="458"/>
                    </a:lnTo>
                    <a:lnTo>
                      <a:pt x="115" y="468"/>
                    </a:lnTo>
                    <a:lnTo>
                      <a:pt x="104" y="431"/>
                    </a:lnTo>
                    <a:lnTo>
                      <a:pt x="68" y="437"/>
                    </a:lnTo>
                    <a:lnTo>
                      <a:pt x="51" y="408"/>
                    </a:lnTo>
                    <a:lnTo>
                      <a:pt x="51" y="400"/>
                    </a:lnTo>
                    <a:lnTo>
                      <a:pt x="25" y="388"/>
                    </a:lnTo>
                    <a:lnTo>
                      <a:pt x="0" y="348"/>
                    </a:lnTo>
                    <a:close/>
                  </a:path>
                </a:pathLst>
              </a:custGeom>
              <a:solidFill>
                <a:srgbClr val="000000"/>
              </a:solidFill>
              <a:ln w="9525">
                <a:noFill/>
                <a:round/>
                <a:headEnd/>
                <a:tailEnd/>
              </a:ln>
            </p:spPr>
            <p:txBody>
              <a:bodyPr/>
              <a:lstStyle/>
              <a:p>
                <a:endParaRPr lang="fr-FR"/>
              </a:p>
            </p:txBody>
          </p:sp>
          <p:sp>
            <p:nvSpPr>
              <p:cNvPr id="10299" name="Freeform 1059"/>
              <p:cNvSpPr>
                <a:spLocks/>
              </p:cNvSpPr>
              <p:nvPr/>
            </p:nvSpPr>
            <p:spPr bwMode="auto">
              <a:xfrm>
                <a:off x="3896" y="1739"/>
                <a:ext cx="284" cy="178"/>
              </a:xfrm>
              <a:custGeom>
                <a:avLst/>
                <a:gdLst>
                  <a:gd name="T0" fmla="*/ 0 w 851"/>
                  <a:gd name="T1" fmla="*/ 0 h 533"/>
                  <a:gd name="T2" fmla="*/ 0 w 851"/>
                  <a:gd name="T3" fmla="*/ 0 h 533"/>
                  <a:gd name="T4" fmla="*/ 0 w 851"/>
                  <a:gd name="T5" fmla="*/ 0 h 533"/>
                  <a:gd name="T6" fmla="*/ 0 w 851"/>
                  <a:gd name="T7" fmla="*/ 0 h 533"/>
                  <a:gd name="T8" fmla="*/ 0 w 851"/>
                  <a:gd name="T9" fmla="*/ 0 h 533"/>
                  <a:gd name="T10" fmla="*/ 0 w 851"/>
                  <a:gd name="T11" fmla="*/ 0 h 533"/>
                  <a:gd name="T12" fmla="*/ 0 w 851"/>
                  <a:gd name="T13" fmla="*/ 0 h 533"/>
                  <a:gd name="T14" fmla="*/ 0 w 851"/>
                  <a:gd name="T15" fmla="*/ 0 h 533"/>
                  <a:gd name="T16" fmla="*/ 0 w 851"/>
                  <a:gd name="T17" fmla="*/ 0 h 533"/>
                  <a:gd name="T18" fmla="*/ 0 w 851"/>
                  <a:gd name="T19" fmla="*/ 0 h 533"/>
                  <a:gd name="T20" fmla="*/ 0 w 851"/>
                  <a:gd name="T21" fmla="*/ 0 h 533"/>
                  <a:gd name="T22" fmla="*/ 0 w 851"/>
                  <a:gd name="T23" fmla="*/ 0 h 533"/>
                  <a:gd name="T24" fmla="*/ 0 w 851"/>
                  <a:gd name="T25" fmla="*/ 0 h 533"/>
                  <a:gd name="T26" fmla="*/ 0 w 851"/>
                  <a:gd name="T27" fmla="*/ 0 h 533"/>
                  <a:gd name="T28" fmla="*/ 0 w 851"/>
                  <a:gd name="T29" fmla="*/ 0 h 533"/>
                  <a:gd name="T30" fmla="*/ 0 w 851"/>
                  <a:gd name="T31" fmla="*/ 0 h 533"/>
                  <a:gd name="T32" fmla="*/ 0 w 851"/>
                  <a:gd name="T33" fmla="*/ 0 h 533"/>
                  <a:gd name="T34" fmla="*/ 0 w 851"/>
                  <a:gd name="T35" fmla="*/ 0 h 533"/>
                  <a:gd name="T36" fmla="*/ 0 w 851"/>
                  <a:gd name="T37" fmla="*/ 0 h 533"/>
                  <a:gd name="T38" fmla="*/ 0 w 851"/>
                  <a:gd name="T39" fmla="*/ 0 h 533"/>
                  <a:gd name="T40" fmla="*/ 0 w 851"/>
                  <a:gd name="T41" fmla="*/ 0 h 533"/>
                  <a:gd name="T42" fmla="*/ 0 w 851"/>
                  <a:gd name="T43" fmla="*/ 0 h 533"/>
                  <a:gd name="T44" fmla="*/ 0 w 851"/>
                  <a:gd name="T45" fmla="*/ 0 h 533"/>
                  <a:gd name="T46" fmla="*/ 0 w 851"/>
                  <a:gd name="T47" fmla="*/ 0 h 533"/>
                  <a:gd name="T48" fmla="*/ 0 w 851"/>
                  <a:gd name="T49" fmla="*/ 0 h 533"/>
                  <a:gd name="T50" fmla="*/ 0 w 851"/>
                  <a:gd name="T51" fmla="*/ 0 h 533"/>
                  <a:gd name="T52" fmla="*/ 0 w 851"/>
                  <a:gd name="T53" fmla="*/ 0 h 533"/>
                  <a:gd name="T54" fmla="*/ 0 w 851"/>
                  <a:gd name="T55" fmla="*/ 0 h 533"/>
                  <a:gd name="T56" fmla="*/ 0 w 851"/>
                  <a:gd name="T57" fmla="*/ 0 h 533"/>
                  <a:gd name="T58" fmla="*/ 0 w 851"/>
                  <a:gd name="T59" fmla="*/ 0 h 533"/>
                  <a:gd name="T60" fmla="*/ 0 w 851"/>
                  <a:gd name="T61" fmla="*/ 0 h 533"/>
                  <a:gd name="T62" fmla="*/ 0 w 851"/>
                  <a:gd name="T63" fmla="*/ 0 h 533"/>
                  <a:gd name="T64" fmla="*/ 0 w 851"/>
                  <a:gd name="T65" fmla="*/ 0 h 533"/>
                  <a:gd name="T66" fmla="*/ 0 w 851"/>
                  <a:gd name="T67" fmla="*/ 0 h 533"/>
                  <a:gd name="T68" fmla="*/ 0 w 851"/>
                  <a:gd name="T69" fmla="*/ 0 h 533"/>
                  <a:gd name="T70" fmla="*/ 0 w 851"/>
                  <a:gd name="T71" fmla="*/ 0 h 533"/>
                  <a:gd name="T72" fmla="*/ 0 w 851"/>
                  <a:gd name="T73" fmla="*/ 0 h 533"/>
                  <a:gd name="T74" fmla="*/ 0 w 851"/>
                  <a:gd name="T75" fmla="*/ 0 h 533"/>
                  <a:gd name="T76" fmla="*/ 0 w 851"/>
                  <a:gd name="T77" fmla="*/ 0 h 533"/>
                  <a:gd name="T78" fmla="*/ 0 w 851"/>
                  <a:gd name="T79" fmla="*/ 0 h 533"/>
                  <a:gd name="T80" fmla="*/ 0 w 851"/>
                  <a:gd name="T81" fmla="*/ 0 h 533"/>
                  <a:gd name="T82" fmla="*/ 0 w 851"/>
                  <a:gd name="T83" fmla="*/ 0 h 533"/>
                  <a:gd name="T84" fmla="*/ 0 w 851"/>
                  <a:gd name="T85" fmla="*/ 0 h 533"/>
                  <a:gd name="T86" fmla="*/ 0 w 851"/>
                  <a:gd name="T87" fmla="*/ 0 h 533"/>
                  <a:gd name="T88" fmla="*/ 0 w 851"/>
                  <a:gd name="T89" fmla="*/ 0 h 533"/>
                  <a:gd name="T90" fmla="*/ 0 w 851"/>
                  <a:gd name="T91" fmla="*/ 0 h 533"/>
                  <a:gd name="T92" fmla="*/ 0 w 851"/>
                  <a:gd name="T93" fmla="*/ 0 h 533"/>
                  <a:gd name="T94" fmla="*/ 0 w 851"/>
                  <a:gd name="T95" fmla="*/ 0 h 533"/>
                  <a:gd name="T96" fmla="*/ 0 w 851"/>
                  <a:gd name="T97" fmla="*/ 0 h 533"/>
                  <a:gd name="T98" fmla="*/ 0 w 851"/>
                  <a:gd name="T99" fmla="*/ 0 h 533"/>
                  <a:gd name="T100" fmla="*/ 0 w 851"/>
                  <a:gd name="T101" fmla="*/ 0 h 533"/>
                  <a:gd name="T102" fmla="*/ 0 w 851"/>
                  <a:gd name="T103" fmla="*/ 0 h 533"/>
                  <a:gd name="T104" fmla="*/ 0 w 851"/>
                  <a:gd name="T105" fmla="*/ 0 h 533"/>
                  <a:gd name="T106" fmla="*/ 0 w 851"/>
                  <a:gd name="T107" fmla="*/ 0 h 533"/>
                  <a:gd name="T108" fmla="*/ 0 w 851"/>
                  <a:gd name="T109" fmla="*/ 0 h 533"/>
                  <a:gd name="T110" fmla="*/ 0 w 851"/>
                  <a:gd name="T111" fmla="*/ 0 h 533"/>
                  <a:gd name="T112" fmla="*/ 0 w 851"/>
                  <a:gd name="T113" fmla="*/ 0 h 533"/>
                  <a:gd name="T114" fmla="*/ 0 w 851"/>
                  <a:gd name="T115" fmla="*/ 0 h 533"/>
                  <a:gd name="T116" fmla="*/ 0 w 851"/>
                  <a:gd name="T117" fmla="*/ 0 h 53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51"/>
                  <a:gd name="T178" fmla="*/ 0 h 533"/>
                  <a:gd name="T179" fmla="*/ 851 w 851"/>
                  <a:gd name="T180" fmla="*/ 533 h 53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51" h="533">
                    <a:moveTo>
                      <a:pt x="837" y="9"/>
                    </a:moveTo>
                    <a:lnTo>
                      <a:pt x="811" y="41"/>
                    </a:lnTo>
                    <a:lnTo>
                      <a:pt x="799" y="68"/>
                    </a:lnTo>
                    <a:lnTo>
                      <a:pt x="795" y="114"/>
                    </a:lnTo>
                    <a:lnTo>
                      <a:pt x="790" y="153"/>
                    </a:lnTo>
                    <a:lnTo>
                      <a:pt x="770" y="184"/>
                    </a:lnTo>
                    <a:lnTo>
                      <a:pt x="738" y="197"/>
                    </a:lnTo>
                    <a:lnTo>
                      <a:pt x="685" y="206"/>
                    </a:lnTo>
                    <a:lnTo>
                      <a:pt x="651" y="202"/>
                    </a:lnTo>
                    <a:lnTo>
                      <a:pt x="630" y="221"/>
                    </a:lnTo>
                    <a:lnTo>
                      <a:pt x="600" y="233"/>
                    </a:lnTo>
                    <a:lnTo>
                      <a:pt x="566" y="233"/>
                    </a:lnTo>
                    <a:lnTo>
                      <a:pt x="548" y="260"/>
                    </a:lnTo>
                    <a:lnTo>
                      <a:pt x="522" y="275"/>
                    </a:lnTo>
                    <a:lnTo>
                      <a:pt x="490" y="278"/>
                    </a:lnTo>
                    <a:lnTo>
                      <a:pt x="479" y="295"/>
                    </a:lnTo>
                    <a:lnTo>
                      <a:pt x="459" y="304"/>
                    </a:lnTo>
                    <a:lnTo>
                      <a:pt x="444" y="318"/>
                    </a:lnTo>
                    <a:lnTo>
                      <a:pt x="418" y="312"/>
                    </a:lnTo>
                    <a:lnTo>
                      <a:pt x="403" y="338"/>
                    </a:lnTo>
                    <a:lnTo>
                      <a:pt x="367" y="353"/>
                    </a:lnTo>
                    <a:lnTo>
                      <a:pt x="335" y="341"/>
                    </a:lnTo>
                    <a:lnTo>
                      <a:pt x="320" y="374"/>
                    </a:lnTo>
                    <a:lnTo>
                      <a:pt x="280" y="393"/>
                    </a:lnTo>
                    <a:lnTo>
                      <a:pt x="250" y="393"/>
                    </a:lnTo>
                    <a:lnTo>
                      <a:pt x="192" y="411"/>
                    </a:lnTo>
                    <a:lnTo>
                      <a:pt x="171" y="431"/>
                    </a:lnTo>
                    <a:lnTo>
                      <a:pt x="138" y="435"/>
                    </a:lnTo>
                    <a:lnTo>
                      <a:pt x="109" y="419"/>
                    </a:lnTo>
                    <a:lnTo>
                      <a:pt x="69" y="431"/>
                    </a:lnTo>
                    <a:lnTo>
                      <a:pt x="27" y="466"/>
                    </a:lnTo>
                    <a:lnTo>
                      <a:pt x="0" y="533"/>
                    </a:lnTo>
                    <a:lnTo>
                      <a:pt x="36" y="475"/>
                    </a:lnTo>
                    <a:lnTo>
                      <a:pt x="88" y="439"/>
                    </a:lnTo>
                    <a:lnTo>
                      <a:pt x="147" y="442"/>
                    </a:lnTo>
                    <a:lnTo>
                      <a:pt x="187" y="438"/>
                    </a:lnTo>
                    <a:lnTo>
                      <a:pt x="241" y="414"/>
                    </a:lnTo>
                    <a:lnTo>
                      <a:pt x="263" y="399"/>
                    </a:lnTo>
                    <a:lnTo>
                      <a:pt x="290" y="398"/>
                    </a:lnTo>
                    <a:lnTo>
                      <a:pt x="332" y="377"/>
                    </a:lnTo>
                    <a:lnTo>
                      <a:pt x="343" y="358"/>
                    </a:lnTo>
                    <a:lnTo>
                      <a:pt x="378" y="358"/>
                    </a:lnTo>
                    <a:lnTo>
                      <a:pt x="415" y="353"/>
                    </a:lnTo>
                    <a:lnTo>
                      <a:pt x="431" y="327"/>
                    </a:lnTo>
                    <a:lnTo>
                      <a:pt x="452" y="327"/>
                    </a:lnTo>
                    <a:lnTo>
                      <a:pt x="501" y="282"/>
                    </a:lnTo>
                    <a:lnTo>
                      <a:pt x="553" y="270"/>
                    </a:lnTo>
                    <a:lnTo>
                      <a:pt x="583" y="248"/>
                    </a:lnTo>
                    <a:lnTo>
                      <a:pt x="635" y="233"/>
                    </a:lnTo>
                    <a:lnTo>
                      <a:pt x="655" y="217"/>
                    </a:lnTo>
                    <a:lnTo>
                      <a:pt x="710" y="214"/>
                    </a:lnTo>
                    <a:lnTo>
                      <a:pt x="779" y="193"/>
                    </a:lnTo>
                    <a:lnTo>
                      <a:pt x="805" y="154"/>
                    </a:lnTo>
                    <a:lnTo>
                      <a:pt x="808" y="120"/>
                    </a:lnTo>
                    <a:lnTo>
                      <a:pt x="808" y="80"/>
                    </a:lnTo>
                    <a:lnTo>
                      <a:pt x="819" y="41"/>
                    </a:lnTo>
                    <a:lnTo>
                      <a:pt x="851" y="0"/>
                    </a:lnTo>
                    <a:lnTo>
                      <a:pt x="837" y="9"/>
                    </a:lnTo>
                    <a:close/>
                  </a:path>
                </a:pathLst>
              </a:custGeom>
              <a:solidFill>
                <a:srgbClr val="000000"/>
              </a:solidFill>
              <a:ln w="9525">
                <a:noFill/>
                <a:round/>
                <a:headEnd/>
                <a:tailEnd/>
              </a:ln>
            </p:spPr>
            <p:txBody>
              <a:bodyPr/>
              <a:lstStyle/>
              <a:p>
                <a:endParaRPr lang="fr-FR"/>
              </a:p>
            </p:txBody>
          </p:sp>
          <p:sp>
            <p:nvSpPr>
              <p:cNvPr id="10300" name="Freeform 1060"/>
              <p:cNvSpPr>
                <a:spLocks/>
              </p:cNvSpPr>
              <p:nvPr/>
            </p:nvSpPr>
            <p:spPr bwMode="auto">
              <a:xfrm>
                <a:off x="3940" y="1908"/>
                <a:ext cx="70" cy="39"/>
              </a:xfrm>
              <a:custGeom>
                <a:avLst/>
                <a:gdLst>
                  <a:gd name="T0" fmla="*/ 0 w 210"/>
                  <a:gd name="T1" fmla="*/ 0 h 119"/>
                  <a:gd name="T2" fmla="*/ 0 w 210"/>
                  <a:gd name="T3" fmla="*/ 0 h 119"/>
                  <a:gd name="T4" fmla="*/ 0 w 210"/>
                  <a:gd name="T5" fmla="*/ 0 h 119"/>
                  <a:gd name="T6" fmla="*/ 0 w 210"/>
                  <a:gd name="T7" fmla="*/ 0 h 119"/>
                  <a:gd name="T8" fmla="*/ 0 w 210"/>
                  <a:gd name="T9" fmla="*/ 0 h 119"/>
                  <a:gd name="T10" fmla="*/ 0 w 210"/>
                  <a:gd name="T11" fmla="*/ 0 h 119"/>
                  <a:gd name="T12" fmla="*/ 0 w 210"/>
                  <a:gd name="T13" fmla="*/ 0 h 119"/>
                  <a:gd name="T14" fmla="*/ 0 w 210"/>
                  <a:gd name="T15" fmla="*/ 0 h 119"/>
                  <a:gd name="T16" fmla="*/ 0 w 210"/>
                  <a:gd name="T17" fmla="*/ 0 h 119"/>
                  <a:gd name="T18" fmla="*/ 0 w 210"/>
                  <a:gd name="T19" fmla="*/ 0 h 119"/>
                  <a:gd name="T20" fmla="*/ 0 w 210"/>
                  <a:gd name="T21" fmla="*/ 0 h 119"/>
                  <a:gd name="T22" fmla="*/ 0 w 210"/>
                  <a:gd name="T23" fmla="*/ 0 h 119"/>
                  <a:gd name="T24" fmla="*/ 0 w 210"/>
                  <a:gd name="T25" fmla="*/ 0 h 119"/>
                  <a:gd name="T26" fmla="*/ 0 w 210"/>
                  <a:gd name="T27" fmla="*/ 0 h 119"/>
                  <a:gd name="T28" fmla="*/ 0 w 210"/>
                  <a:gd name="T29" fmla="*/ 0 h 119"/>
                  <a:gd name="T30" fmla="*/ 0 w 210"/>
                  <a:gd name="T31" fmla="*/ 0 h 119"/>
                  <a:gd name="T32" fmla="*/ 0 w 210"/>
                  <a:gd name="T33" fmla="*/ 0 h 119"/>
                  <a:gd name="T34" fmla="*/ 0 w 210"/>
                  <a:gd name="T35" fmla="*/ 0 h 119"/>
                  <a:gd name="T36" fmla="*/ 0 w 210"/>
                  <a:gd name="T37" fmla="*/ 0 h 119"/>
                  <a:gd name="T38" fmla="*/ 0 w 210"/>
                  <a:gd name="T39" fmla="*/ 0 h 119"/>
                  <a:gd name="T40" fmla="*/ 0 w 210"/>
                  <a:gd name="T41" fmla="*/ 0 h 119"/>
                  <a:gd name="T42" fmla="*/ 0 w 210"/>
                  <a:gd name="T43" fmla="*/ 0 h 119"/>
                  <a:gd name="T44" fmla="*/ 0 w 210"/>
                  <a:gd name="T45" fmla="*/ 0 h 119"/>
                  <a:gd name="T46" fmla="*/ 0 w 210"/>
                  <a:gd name="T47" fmla="*/ 0 h 119"/>
                  <a:gd name="T48" fmla="*/ 0 w 210"/>
                  <a:gd name="T49" fmla="*/ 0 h 119"/>
                  <a:gd name="T50" fmla="*/ 0 w 210"/>
                  <a:gd name="T51" fmla="*/ 0 h 119"/>
                  <a:gd name="T52" fmla="*/ 0 w 210"/>
                  <a:gd name="T53" fmla="*/ 0 h 119"/>
                  <a:gd name="T54" fmla="*/ 0 w 210"/>
                  <a:gd name="T55" fmla="*/ 0 h 119"/>
                  <a:gd name="T56" fmla="*/ 0 w 210"/>
                  <a:gd name="T57" fmla="*/ 0 h 119"/>
                  <a:gd name="T58" fmla="*/ 0 w 210"/>
                  <a:gd name="T59" fmla="*/ 0 h 119"/>
                  <a:gd name="T60" fmla="*/ 0 w 210"/>
                  <a:gd name="T61" fmla="*/ 0 h 119"/>
                  <a:gd name="T62" fmla="*/ 0 w 210"/>
                  <a:gd name="T63" fmla="*/ 0 h 119"/>
                  <a:gd name="T64" fmla="*/ 0 w 210"/>
                  <a:gd name="T65" fmla="*/ 0 h 119"/>
                  <a:gd name="T66" fmla="*/ 0 w 210"/>
                  <a:gd name="T67" fmla="*/ 0 h 119"/>
                  <a:gd name="T68" fmla="*/ 0 w 210"/>
                  <a:gd name="T69" fmla="*/ 0 h 119"/>
                  <a:gd name="T70" fmla="*/ 0 w 210"/>
                  <a:gd name="T71" fmla="*/ 0 h 119"/>
                  <a:gd name="T72" fmla="*/ 0 w 210"/>
                  <a:gd name="T73" fmla="*/ 0 h 119"/>
                  <a:gd name="T74" fmla="*/ 0 w 210"/>
                  <a:gd name="T75" fmla="*/ 0 h 119"/>
                  <a:gd name="T76" fmla="*/ 0 w 210"/>
                  <a:gd name="T77" fmla="*/ 0 h 119"/>
                  <a:gd name="T78" fmla="*/ 0 w 210"/>
                  <a:gd name="T79" fmla="*/ 0 h 119"/>
                  <a:gd name="T80" fmla="*/ 0 w 210"/>
                  <a:gd name="T81" fmla="*/ 0 h 119"/>
                  <a:gd name="T82" fmla="*/ 0 w 210"/>
                  <a:gd name="T83" fmla="*/ 0 h 119"/>
                  <a:gd name="T84" fmla="*/ 0 w 210"/>
                  <a:gd name="T85" fmla="*/ 0 h 119"/>
                  <a:gd name="T86" fmla="*/ 0 w 210"/>
                  <a:gd name="T87" fmla="*/ 0 h 119"/>
                  <a:gd name="T88" fmla="*/ 0 w 210"/>
                  <a:gd name="T89" fmla="*/ 0 h 119"/>
                  <a:gd name="T90" fmla="*/ 0 w 210"/>
                  <a:gd name="T91" fmla="*/ 0 h 119"/>
                  <a:gd name="T92" fmla="*/ 0 w 210"/>
                  <a:gd name="T93" fmla="*/ 0 h 119"/>
                  <a:gd name="T94" fmla="*/ 0 w 210"/>
                  <a:gd name="T95" fmla="*/ 0 h 119"/>
                  <a:gd name="T96" fmla="*/ 0 w 210"/>
                  <a:gd name="T97" fmla="*/ 0 h 1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0"/>
                  <a:gd name="T148" fmla="*/ 0 h 119"/>
                  <a:gd name="T149" fmla="*/ 210 w 210"/>
                  <a:gd name="T150" fmla="*/ 119 h 11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0" h="119">
                    <a:moveTo>
                      <a:pt x="35" y="21"/>
                    </a:moveTo>
                    <a:lnTo>
                      <a:pt x="47" y="34"/>
                    </a:lnTo>
                    <a:lnTo>
                      <a:pt x="43" y="50"/>
                    </a:lnTo>
                    <a:lnTo>
                      <a:pt x="31" y="71"/>
                    </a:lnTo>
                    <a:lnTo>
                      <a:pt x="5" y="90"/>
                    </a:lnTo>
                    <a:lnTo>
                      <a:pt x="0" y="116"/>
                    </a:lnTo>
                    <a:lnTo>
                      <a:pt x="16" y="93"/>
                    </a:lnTo>
                    <a:lnTo>
                      <a:pt x="38" y="85"/>
                    </a:lnTo>
                    <a:lnTo>
                      <a:pt x="54" y="98"/>
                    </a:lnTo>
                    <a:lnTo>
                      <a:pt x="62" y="114"/>
                    </a:lnTo>
                    <a:lnTo>
                      <a:pt x="62" y="93"/>
                    </a:lnTo>
                    <a:lnTo>
                      <a:pt x="47" y="74"/>
                    </a:lnTo>
                    <a:lnTo>
                      <a:pt x="53" y="62"/>
                    </a:lnTo>
                    <a:lnTo>
                      <a:pt x="63" y="85"/>
                    </a:lnTo>
                    <a:lnTo>
                      <a:pt x="54" y="55"/>
                    </a:lnTo>
                    <a:lnTo>
                      <a:pt x="59" y="41"/>
                    </a:lnTo>
                    <a:lnTo>
                      <a:pt x="81" y="55"/>
                    </a:lnTo>
                    <a:lnTo>
                      <a:pt x="87" y="79"/>
                    </a:lnTo>
                    <a:lnTo>
                      <a:pt x="84" y="93"/>
                    </a:lnTo>
                    <a:lnTo>
                      <a:pt x="92" y="119"/>
                    </a:lnTo>
                    <a:lnTo>
                      <a:pt x="90" y="93"/>
                    </a:lnTo>
                    <a:lnTo>
                      <a:pt x="111" y="102"/>
                    </a:lnTo>
                    <a:lnTo>
                      <a:pt x="123" y="119"/>
                    </a:lnTo>
                    <a:lnTo>
                      <a:pt x="117" y="98"/>
                    </a:lnTo>
                    <a:lnTo>
                      <a:pt x="96" y="82"/>
                    </a:lnTo>
                    <a:lnTo>
                      <a:pt x="90" y="58"/>
                    </a:lnTo>
                    <a:lnTo>
                      <a:pt x="152" y="85"/>
                    </a:lnTo>
                    <a:lnTo>
                      <a:pt x="166" y="82"/>
                    </a:lnTo>
                    <a:lnTo>
                      <a:pt x="129" y="61"/>
                    </a:lnTo>
                    <a:lnTo>
                      <a:pt x="157" y="55"/>
                    </a:lnTo>
                    <a:lnTo>
                      <a:pt x="184" y="44"/>
                    </a:lnTo>
                    <a:lnTo>
                      <a:pt x="210" y="55"/>
                    </a:lnTo>
                    <a:lnTo>
                      <a:pt x="187" y="37"/>
                    </a:lnTo>
                    <a:lnTo>
                      <a:pt x="194" y="6"/>
                    </a:lnTo>
                    <a:lnTo>
                      <a:pt x="175" y="34"/>
                    </a:lnTo>
                    <a:lnTo>
                      <a:pt x="152" y="46"/>
                    </a:lnTo>
                    <a:lnTo>
                      <a:pt x="120" y="46"/>
                    </a:lnTo>
                    <a:lnTo>
                      <a:pt x="87" y="41"/>
                    </a:lnTo>
                    <a:lnTo>
                      <a:pt x="68" y="28"/>
                    </a:lnTo>
                    <a:lnTo>
                      <a:pt x="117" y="24"/>
                    </a:lnTo>
                    <a:lnTo>
                      <a:pt x="142" y="31"/>
                    </a:lnTo>
                    <a:lnTo>
                      <a:pt x="129" y="18"/>
                    </a:lnTo>
                    <a:lnTo>
                      <a:pt x="138" y="0"/>
                    </a:lnTo>
                    <a:lnTo>
                      <a:pt x="117" y="13"/>
                    </a:lnTo>
                    <a:lnTo>
                      <a:pt x="68" y="21"/>
                    </a:lnTo>
                    <a:lnTo>
                      <a:pt x="59" y="24"/>
                    </a:lnTo>
                    <a:lnTo>
                      <a:pt x="49" y="10"/>
                    </a:lnTo>
                    <a:lnTo>
                      <a:pt x="35" y="21"/>
                    </a:lnTo>
                    <a:close/>
                  </a:path>
                </a:pathLst>
              </a:custGeom>
              <a:solidFill>
                <a:srgbClr val="000000"/>
              </a:solidFill>
              <a:ln w="9525">
                <a:noFill/>
                <a:round/>
                <a:headEnd/>
                <a:tailEnd/>
              </a:ln>
            </p:spPr>
            <p:txBody>
              <a:bodyPr/>
              <a:lstStyle/>
              <a:p>
                <a:endParaRPr lang="fr-FR"/>
              </a:p>
            </p:txBody>
          </p:sp>
          <p:sp>
            <p:nvSpPr>
              <p:cNvPr id="10301" name="Freeform 1061"/>
              <p:cNvSpPr>
                <a:spLocks/>
              </p:cNvSpPr>
              <p:nvPr/>
            </p:nvSpPr>
            <p:spPr bwMode="auto">
              <a:xfrm>
                <a:off x="3918" y="1727"/>
                <a:ext cx="238" cy="123"/>
              </a:xfrm>
              <a:custGeom>
                <a:avLst/>
                <a:gdLst>
                  <a:gd name="T0" fmla="*/ 0 w 712"/>
                  <a:gd name="T1" fmla="*/ 0 h 370"/>
                  <a:gd name="T2" fmla="*/ 0 w 712"/>
                  <a:gd name="T3" fmla="*/ 0 h 370"/>
                  <a:gd name="T4" fmla="*/ 0 w 712"/>
                  <a:gd name="T5" fmla="*/ 0 h 370"/>
                  <a:gd name="T6" fmla="*/ 0 w 712"/>
                  <a:gd name="T7" fmla="*/ 0 h 370"/>
                  <a:gd name="T8" fmla="*/ 0 w 712"/>
                  <a:gd name="T9" fmla="*/ 0 h 370"/>
                  <a:gd name="T10" fmla="*/ 0 w 712"/>
                  <a:gd name="T11" fmla="*/ 0 h 370"/>
                  <a:gd name="T12" fmla="*/ 0 w 712"/>
                  <a:gd name="T13" fmla="*/ 0 h 370"/>
                  <a:gd name="T14" fmla="*/ 0 w 712"/>
                  <a:gd name="T15" fmla="*/ 0 h 370"/>
                  <a:gd name="T16" fmla="*/ 0 w 712"/>
                  <a:gd name="T17" fmla="*/ 0 h 370"/>
                  <a:gd name="T18" fmla="*/ 0 w 712"/>
                  <a:gd name="T19" fmla="*/ 0 h 370"/>
                  <a:gd name="T20" fmla="*/ 0 w 712"/>
                  <a:gd name="T21" fmla="*/ 0 h 370"/>
                  <a:gd name="T22" fmla="*/ 0 w 712"/>
                  <a:gd name="T23" fmla="*/ 0 h 370"/>
                  <a:gd name="T24" fmla="*/ 0 w 712"/>
                  <a:gd name="T25" fmla="*/ 0 h 370"/>
                  <a:gd name="T26" fmla="*/ 0 w 712"/>
                  <a:gd name="T27" fmla="*/ 0 h 370"/>
                  <a:gd name="T28" fmla="*/ 0 w 712"/>
                  <a:gd name="T29" fmla="*/ 0 h 370"/>
                  <a:gd name="T30" fmla="*/ 0 w 712"/>
                  <a:gd name="T31" fmla="*/ 0 h 370"/>
                  <a:gd name="T32" fmla="*/ 0 w 712"/>
                  <a:gd name="T33" fmla="*/ 0 h 370"/>
                  <a:gd name="T34" fmla="*/ 0 w 712"/>
                  <a:gd name="T35" fmla="*/ 0 h 370"/>
                  <a:gd name="T36" fmla="*/ 0 w 712"/>
                  <a:gd name="T37" fmla="*/ 0 h 370"/>
                  <a:gd name="T38" fmla="*/ 0 w 712"/>
                  <a:gd name="T39" fmla="*/ 0 h 370"/>
                  <a:gd name="T40" fmla="*/ 0 w 712"/>
                  <a:gd name="T41" fmla="*/ 0 h 370"/>
                  <a:gd name="T42" fmla="*/ 0 w 712"/>
                  <a:gd name="T43" fmla="*/ 0 h 370"/>
                  <a:gd name="T44" fmla="*/ 0 w 712"/>
                  <a:gd name="T45" fmla="*/ 0 h 370"/>
                  <a:gd name="T46" fmla="*/ 0 w 712"/>
                  <a:gd name="T47" fmla="*/ 0 h 370"/>
                  <a:gd name="T48" fmla="*/ 0 w 712"/>
                  <a:gd name="T49" fmla="*/ 0 h 370"/>
                  <a:gd name="T50" fmla="*/ 0 w 712"/>
                  <a:gd name="T51" fmla="*/ 0 h 370"/>
                  <a:gd name="T52" fmla="*/ 0 w 712"/>
                  <a:gd name="T53" fmla="*/ 0 h 370"/>
                  <a:gd name="T54" fmla="*/ 0 w 712"/>
                  <a:gd name="T55" fmla="*/ 0 h 370"/>
                  <a:gd name="T56" fmla="*/ 0 w 712"/>
                  <a:gd name="T57" fmla="*/ 0 h 370"/>
                  <a:gd name="T58" fmla="*/ 0 w 712"/>
                  <a:gd name="T59" fmla="*/ 0 h 370"/>
                  <a:gd name="T60" fmla="*/ 0 w 712"/>
                  <a:gd name="T61" fmla="*/ 0 h 370"/>
                  <a:gd name="T62" fmla="*/ 0 w 712"/>
                  <a:gd name="T63" fmla="*/ 0 h 370"/>
                  <a:gd name="T64" fmla="*/ 0 w 712"/>
                  <a:gd name="T65" fmla="*/ 0 h 370"/>
                  <a:gd name="T66" fmla="*/ 0 w 712"/>
                  <a:gd name="T67" fmla="*/ 0 h 370"/>
                  <a:gd name="T68" fmla="*/ 0 w 712"/>
                  <a:gd name="T69" fmla="*/ 0 h 370"/>
                  <a:gd name="T70" fmla="*/ 0 w 712"/>
                  <a:gd name="T71" fmla="*/ 0 h 370"/>
                  <a:gd name="T72" fmla="*/ 0 w 712"/>
                  <a:gd name="T73" fmla="*/ 0 h 370"/>
                  <a:gd name="T74" fmla="*/ 0 w 712"/>
                  <a:gd name="T75" fmla="*/ 0 h 370"/>
                  <a:gd name="T76" fmla="*/ 0 w 712"/>
                  <a:gd name="T77" fmla="*/ 0 h 370"/>
                  <a:gd name="T78" fmla="*/ 0 w 712"/>
                  <a:gd name="T79" fmla="*/ 0 h 370"/>
                  <a:gd name="T80" fmla="*/ 0 w 712"/>
                  <a:gd name="T81" fmla="*/ 0 h 370"/>
                  <a:gd name="T82" fmla="*/ 0 w 712"/>
                  <a:gd name="T83" fmla="*/ 0 h 370"/>
                  <a:gd name="T84" fmla="*/ 0 w 712"/>
                  <a:gd name="T85" fmla="*/ 0 h 370"/>
                  <a:gd name="T86" fmla="*/ 0 w 712"/>
                  <a:gd name="T87" fmla="*/ 0 h 370"/>
                  <a:gd name="T88" fmla="*/ 0 w 712"/>
                  <a:gd name="T89" fmla="*/ 0 h 3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12"/>
                  <a:gd name="T136" fmla="*/ 0 h 370"/>
                  <a:gd name="T137" fmla="*/ 712 w 712"/>
                  <a:gd name="T138" fmla="*/ 370 h 3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12" h="370">
                    <a:moveTo>
                      <a:pt x="21" y="370"/>
                    </a:moveTo>
                    <a:lnTo>
                      <a:pt x="19" y="323"/>
                    </a:lnTo>
                    <a:lnTo>
                      <a:pt x="27" y="285"/>
                    </a:lnTo>
                    <a:lnTo>
                      <a:pt x="45" y="277"/>
                    </a:lnTo>
                    <a:lnTo>
                      <a:pt x="54" y="294"/>
                    </a:lnTo>
                    <a:lnTo>
                      <a:pt x="73" y="248"/>
                    </a:lnTo>
                    <a:lnTo>
                      <a:pt x="119" y="222"/>
                    </a:lnTo>
                    <a:lnTo>
                      <a:pt x="165" y="239"/>
                    </a:lnTo>
                    <a:lnTo>
                      <a:pt x="186" y="199"/>
                    </a:lnTo>
                    <a:lnTo>
                      <a:pt x="236" y="178"/>
                    </a:lnTo>
                    <a:lnTo>
                      <a:pt x="276" y="178"/>
                    </a:lnTo>
                    <a:lnTo>
                      <a:pt x="336" y="136"/>
                    </a:lnTo>
                    <a:lnTo>
                      <a:pt x="376" y="121"/>
                    </a:lnTo>
                    <a:lnTo>
                      <a:pt x="385" y="99"/>
                    </a:lnTo>
                    <a:lnTo>
                      <a:pt x="423" y="123"/>
                    </a:lnTo>
                    <a:lnTo>
                      <a:pt x="423" y="105"/>
                    </a:lnTo>
                    <a:lnTo>
                      <a:pt x="464" y="93"/>
                    </a:lnTo>
                    <a:lnTo>
                      <a:pt x="526" y="105"/>
                    </a:lnTo>
                    <a:lnTo>
                      <a:pt x="530" y="84"/>
                    </a:lnTo>
                    <a:lnTo>
                      <a:pt x="596" y="75"/>
                    </a:lnTo>
                    <a:lnTo>
                      <a:pt x="603" y="58"/>
                    </a:lnTo>
                    <a:lnTo>
                      <a:pt x="655" y="41"/>
                    </a:lnTo>
                    <a:lnTo>
                      <a:pt x="674" y="26"/>
                    </a:lnTo>
                    <a:lnTo>
                      <a:pt x="712" y="49"/>
                    </a:lnTo>
                    <a:lnTo>
                      <a:pt x="703" y="0"/>
                    </a:lnTo>
                    <a:lnTo>
                      <a:pt x="618" y="9"/>
                    </a:lnTo>
                    <a:lnTo>
                      <a:pt x="579" y="52"/>
                    </a:lnTo>
                    <a:lnTo>
                      <a:pt x="542" y="61"/>
                    </a:lnTo>
                    <a:lnTo>
                      <a:pt x="513" y="81"/>
                    </a:lnTo>
                    <a:lnTo>
                      <a:pt x="443" y="75"/>
                    </a:lnTo>
                    <a:lnTo>
                      <a:pt x="412" y="96"/>
                    </a:lnTo>
                    <a:lnTo>
                      <a:pt x="380" y="81"/>
                    </a:lnTo>
                    <a:lnTo>
                      <a:pt x="343" y="107"/>
                    </a:lnTo>
                    <a:lnTo>
                      <a:pt x="325" y="129"/>
                    </a:lnTo>
                    <a:lnTo>
                      <a:pt x="263" y="166"/>
                    </a:lnTo>
                    <a:lnTo>
                      <a:pt x="205" y="176"/>
                    </a:lnTo>
                    <a:lnTo>
                      <a:pt x="165" y="199"/>
                    </a:lnTo>
                    <a:lnTo>
                      <a:pt x="153" y="222"/>
                    </a:lnTo>
                    <a:lnTo>
                      <a:pt x="107" y="214"/>
                    </a:lnTo>
                    <a:lnTo>
                      <a:pt x="57" y="239"/>
                    </a:lnTo>
                    <a:lnTo>
                      <a:pt x="51" y="263"/>
                    </a:lnTo>
                    <a:lnTo>
                      <a:pt x="19" y="270"/>
                    </a:lnTo>
                    <a:lnTo>
                      <a:pt x="0" y="307"/>
                    </a:lnTo>
                    <a:lnTo>
                      <a:pt x="21" y="370"/>
                    </a:lnTo>
                    <a:close/>
                  </a:path>
                </a:pathLst>
              </a:custGeom>
              <a:solidFill>
                <a:srgbClr val="000000"/>
              </a:solidFill>
              <a:ln w="9525">
                <a:noFill/>
                <a:round/>
                <a:headEnd/>
                <a:tailEnd/>
              </a:ln>
            </p:spPr>
            <p:txBody>
              <a:bodyPr/>
              <a:lstStyle/>
              <a:p>
                <a:endParaRPr lang="fr-FR"/>
              </a:p>
            </p:txBody>
          </p:sp>
          <p:sp>
            <p:nvSpPr>
              <p:cNvPr id="10302" name="Freeform 1062"/>
              <p:cNvSpPr>
                <a:spLocks/>
              </p:cNvSpPr>
              <p:nvPr/>
            </p:nvSpPr>
            <p:spPr bwMode="auto">
              <a:xfrm>
                <a:off x="4085" y="1920"/>
                <a:ext cx="88" cy="116"/>
              </a:xfrm>
              <a:custGeom>
                <a:avLst/>
                <a:gdLst>
                  <a:gd name="T0" fmla="*/ 0 w 265"/>
                  <a:gd name="T1" fmla="*/ 0 h 348"/>
                  <a:gd name="T2" fmla="*/ 0 w 265"/>
                  <a:gd name="T3" fmla="*/ 0 h 348"/>
                  <a:gd name="T4" fmla="*/ 0 w 265"/>
                  <a:gd name="T5" fmla="*/ 0 h 348"/>
                  <a:gd name="T6" fmla="*/ 0 w 265"/>
                  <a:gd name="T7" fmla="*/ 0 h 348"/>
                  <a:gd name="T8" fmla="*/ 0 w 265"/>
                  <a:gd name="T9" fmla="*/ 0 h 348"/>
                  <a:gd name="T10" fmla="*/ 0 w 265"/>
                  <a:gd name="T11" fmla="*/ 0 h 348"/>
                  <a:gd name="T12" fmla="*/ 0 w 265"/>
                  <a:gd name="T13" fmla="*/ 0 h 348"/>
                  <a:gd name="T14" fmla="*/ 0 w 265"/>
                  <a:gd name="T15" fmla="*/ 0 h 348"/>
                  <a:gd name="T16" fmla="*/ 0 w 265"/>
                  <a:gd name="T17" fmla="*/ 0 h 348"/>
                  <a:gd name="T18" fmla="*/ 0 w 265"/>
                  <a:gd name="T19" fmla="*/ 0 h 348"/>
                  <a:gd name="T20" fmla="*/ 0 w 265"/>
                  <a:gd name="T21" fmla="*/ 0 h 348"/>
                  <a:gd name="T22" fmla="*/ 0 w 265"/>
                  <a:gd name="T23" fmla="*/ 0 h 348"/>
                  <a:gd name="T24" fmla="*/ 0 w 265"/>
                  <a:gd name="T25" fmla="*/ 0 h 348"/>
                  <a:gd name="T26" fmla="*/ 0 w 265"/>
                  <a:gd name="T27" fmla="*/ 0 h 348"/>
                  <a:gd name="T28" fmla="*/ 0 w 265"/>
                  <a:gd name="T29" fmla="*/ 0 h 348"/>
                  <a:gd name="T30" fmla="*/ 0 w 265"/>
                  <a:gd name="T31" fmla="*/ 0 h 348"/>
                  <a:gd name="T32" fmla="*/ 0 w 265"/>
                  <a:gd name="T33" fmla="*/ 0 h 348"/>
                  <a:gd name="T34" fmla="*/ 0 w 265"/>
                  <a:gd name="T35" fmla="*/ 0 h 348"/>
                  <a:gd name="T36" fmla="*/ 0 w 265"/>
                  <a:gd name="T37" fmla="*/ 0 h 348"/>
                  <a:gd name="T38" fmla="*/ 0 w 265"/>
                  <a:gd name="T39" fmla="*/ 0 h 348"/>
                  <a:gd name="T40" fmla="*/ 0 w 265"/>
                  <a:gd name="T41" fmla="*/ 0 h 348"/>
                  <a:gd name="T42" fmla="*/ 0 w 265"/>
                  <a:gd name="T43" fmla="*/ 0 h 348"/>
                  <a:gd name="T44" fmla="*/ 0 w 265"/>
                  <a:gd name="T45" fmla="*/ 0 h 348"/>
                  <a:gd name="T46" fmla="*/ 0 w 265"/>
                  <a:gd name="T47" fmla="*/ 0 h 348"/>
                  <a:gd name="T48" fmla="*/ 0 w 265"/>
                  <a:gd name="T49" fmla="*/ 0 h 348"/>
                  <a:gd name="T50" fmla="*/ 0 w 265"/>
                  <a:gd name="T51" fmla="*/ 0 h 348"/>
                  <a:gd name="T52" fmla="*/ 0 w 265"/>
                  <a:gd name="T53" fmla="*/ 0 h 348"/>
                  <a:gd name="T54" fmla="*/ 0 w 265"/>
                  <a:gd name="T55" fmla="*/ 0 h 348"/>
                  <a:gd name="T56" fmla="*/ 0 w 265"/>
                  <a:gd name="T57" fmla="*/ 0 h 348"/>
                  <a:gd name="T58" fmla="*/ 0 w 265"/>
                  <a:gd name="T59" fmla="*/ 0 h 348"/>
                  <a:gd name="T60" fmla="*/ 0 w 265"/>
                  <a:gd name="T61" fmla="*/ 0 h 348"/>
                  <a:gd name="T62" fmla="*/ 0 w 265"/>
                  <a:gd name="T63" fmla="*/ 0 h 348"/>
                  <a:gd name="T64" fmla="*/ 0 w 265"/>
                  <a:gd name="T65" fmla="*/ 0 h 348"/>
                  <a:gd name="T66" fmla="*/ 0 w 265"/>
                  <a:gd name="T67" fmla="*/ 0 h 348"/>
                  <a:gd name="T68" fmla="*/ 0 w 265"/>
                  <a:gd name="T69" fmla="*/ 0 h 348"/>
                  <a:gd name="T70" fmla="*/ 0 w 265"/>
                  <a:gd name="T71" fmla="*/ 0 h 3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5"/>
                  <a:gd name="T109" fmla="*/ 0 h 348"/>
                  <a:gd name="T110" fmla="*/ 265 w 265"/>
                  <a:gd name="T111" fmla="*/ 348 h 34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5" h="348">
                    <a:moveTo>
                      <a:pt x="0" y="33"/>
                    </a:moveTo>
                    <a:lnTo>
                      <a:pt x="17" y="61"/>
                    </a:lnTo>
                    <a:lnTo>
                      <a:pt x="31" y="102"/>
                    </a:lnTo>
                    <a:lnTo>
                      <a:pt x="27" y="113"/>
                    </a:lnTo>
                    <a:lnTo>
                      <a:pt x="9" y="113"/>
                    </a:lnTo>
                    <a:lnTo>
                      <a:pt x="5" y="131"/>
                    </a:lnTo>
                    <a:lnTo>
                      <a:pt x="52" y="146"/>
                    </a:lnTo>
                    <a:lnTo>
                      <a:pt x="80" y="140"/>
                    </a:lnTo>
                    <a:lnTo>
                      <a:pt x="126" y="165"/>
                    </a:lnTo>
                    <a:lnTo>
                      <a:pt x="116" y="189"/>
                    </a:lnTo>
                    <a:lnTo>
                      <a:pt x="128" y="209"/>
                    </a:lnTo>
                    <a:lnTo>
                      <a:pt x="156" y="193"/>
                    </a:lnTo>
                    <a:lnTo>
                      <a:pt x="196" y="215"/>
                    </a:lnTo>
                    <a:lnTo>
                      <a:pt x="201" y="253"/>
                    </a:lnTo>
                    <a:lnTo>
                      <a:pt x="224" y="269"/>
                    </a:lnTo>
                    <a:lnTo>
                      <a:pt x="229" y="290"/>
                    </a:lnTo>
                    <a:lnTo>
                      <a:pt x="224" y="348"/>
                    </a:lnTo>
                    <a:lnTo>
                      <a:pt x="251" y="306"/>
                    </a:lnTo>
                    <a:lnTo>
                      <a:pt x="265" y="276"/>
                    </a:lnTo>
                    <a:lnTo>
                      <a:pt x="260" y="221"/>
                    </a:lnTo>
                    <a:lnTo>
                      <a:pt x="233" y="184"/>
                    </a:lnTo>
                    <a:lnTo>
                      <a:pt x="184" y="171"/>
                    </a:lnTo>
                    <a:lnTo>
                      <a:pt x="144" y="175"/>
                    </a:lnTo>
                    <a:lnTo>
                      <a:pt x="141" y="146"/>
                    </a:lnTo>
                    <a:lnTo>
                      <a:pt x="107" y="129"/>
                    </a:lnTo>
                    <a:lnTo>
                      <a:pt x="61" y="126"/>
                    </a:lnTo>
                    <a:lnTo>
                      <a:pt x="60" y="95"/>
                    </a:lnTo>
                    <a:lnTo>
                      <a:pt x="43" y="89"/>
                    </a:lnTo>
                    <a:lnTo>
                      <a:pt x="49" y="61"/>
                    </a:lnTo>
                    <a:lnTo>
                      <a:pt x="40" y="49"/>
                    </a:lnTo>
                    <a:lnTo>
                      <a:pt x="60" y="37"/>
                    </a:lnTo>
                    <a:lnTo>
                      <a:pt x="52" y="0"/>
                    </a:lnTo>
                    <a:lnTo>
                      <a:pt x="31" y="37"/>
                    </a:lnTo>
                    <a:lnTo>
                      <a:pt x="20" y="42"/>
                    </a:lnTo>
                    <a:lnTo>
                      <a:pt x="0" y="33"/>
                    </a:lnTo>
                    <a:close/>
                  </a:path>
                </a:pathLst>
              </a:custGeom>
              <a:solidFill>
                <a:srgbClr val="000000"/>
              </a:solidFill>
              <a:ln w="9525">
                <a:noFill/>
                <a:round/>
                <a:headEnd/>
                <a:tailEnd/>
              </a:ln>
            </p:spPr>
            <p:txBody>
              <a:bodyPr/>
              <a:lstStyle/>
              <a:p>
                <a:endParaRPr lang="fr-FR"/>
              </a:p>
            </p:txBody>
          </p:sp>
          <p:sp>
            <p:nvSpPr>
              <p:cNvPr id="10303" name="Freeform 1063"/>
              <p:cNvSpPr>
                <a:spLocks/>
              </p:cNvSpPr>
              <p:nvPr/>
            </p:nvSpPr>
            <p:spPr bwMode="auto">
              <a:xfrm>
                <a:off x="4091" y="1980"/>
                <a:ext cx="26" cy="64"/>
              </a:xfrm>
              <a:custGeom>
                <a:avLst/>
                <a:gdLst>
                  <a:gd name="T0" fmla="*/ 0 w 77"/>
                  <a:gd name="T1" fmla="*/ 0 h 193"/>
                  <a:gd name="T2" fmla="*/ 0 w 77"/>
                  <a:gd name="T3" fmla="*/ 0 h 193"/>
                  <a:gd name="T4" fmla="*/ 0 w 77"/>
                  <a:gd name="T5" fmla="*/ 0 h 193"/>
                  <a:gd name="T6" fmla="*/ 0 w 77"/>
                  <a:gd name="T7" fmla="*/ 0 h 193"/>
                  <a:gd name="T8" fmla="*/ 0 w 77"/>
                  <a:gd name="T9" fmla="*/ 0 h 193"/>
                  <a:gd name="T10" fmla="*/ 0 w 77"/>
                  <a:gd name="T11" fmla="*/ 0 h 193"/>
                  <a:gd name="T12" fmla="*/ 0 w 77"/>
                  <a:gd name="T13" fmla="*/ 0 h 193"/>
                  <a:gd name="T14" fmla="*/ 0 w 77"/>
                  <a:gd name="T15" fmla="*/ 0 h 193"/>
                  <a:gd name="T16" fmla="*/ 0 w 77"/>
                  <a:gd name="T17" fmla="*/ 0 h 193"/>
                  <a:gd name="T18" fmla="*/ 0 w 77"/>
                  <a:gd name="T19" fmla="*/ 0 h 193"/>
                  <a:gd name="T20" fmla="*/ 0 w 77"/>
                  <a:gd name="T21" fmla="*/ 0 h 193"/>
                  <a:gd name="T22" fmla="*/ 0 w 77"/>
                  <a:gd name="T23" fmla="*/ 0 h 193"/>
                  <a:gd name="T24" fmla="*/ 0 w 77"/>
                  <a:gd name="T25" fmla="*/ 0 h 193"/>
                  <a:gd name="T26" fmla="*/ 0 w 77"/>
                  <a:gd name="T27" fmla="*/ 0 h 193"/>
                  <a:gd name="T28" fmla="*/ 0 w 77"/>
                  <a:gd name="T29" fmla="*/ 0 h 193"/>
                  <a:gd name="T30" fmla="*/ 0 w 77"/>
                  <a:gd name="T31" fmla="*/ 0 h 193"/>
                  <a:gd name="T32" fmla="*/ 0 w 77"/>
                  <a:gd name="T33" fmla="*/ 0 h 1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7"/>
                  <a:gd name="T52" fmla="*/ 0 h 193"/>
                  <a:gd name="T53" fmla="*/ 77 w 77"/>
                  <a:gd name="T54" fmla="*/ 193 h 1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7" h="193">
                    <a:moveTo>
                      <a:pt x="11" y="0"/>
                    </a:moveTo>
                    <a:lnTo>
                      <a:pt x="29" y="34"/>
                    </a:lnTo>
                    <a:lnTo>
                      <a:pt x="17" y="59"/>
                    </a:lnTo>
                    <a:lnTo>
                      <a:pt x="0" y="89"/>
                    </a:lnTo>
                    <a:lnTo>
                      <a:pt x="29" y="123"/>
                    </a:lnTo>
                    <a:lnTo>
                      <a:pt x="53" y="141"/>
                    </a:lnTo>
                    <a:lnTo>
                      <a:pt x="56" y="174"/>
                    </a:lnTo>
                    <a:lnTo>
                      <a:pt x="44" y="193"/>
                    </a:lnTo>
                    <a:lnTo>
                      <a:pt x="69" y="169"/>
                    </a:lnTo>
                    <a:lnTo>
                      <a:pt x="77" y="135"/>
                    </a:lnTo>
                    <a:lnTo>
                      <a:pt x="59" y="110"/>
                    </a:lnTo>
                    <a:lnTo>
                      <a:pt x="77" y="78"/>
                    </a:lnTo>
                    <a:lnTo>
                      <a:pt x="41" y="78"/>
                    </a:lnTo>
                    <a:lnTo>
                      <a:pt x="46" y="38"/>
                    </a:lnTo>
                    <a:lnTo>
                      <a:pt x="26" y="9"/>
                    </a:lnTo>
                    <a:lnTo>
                      <a:pt x="11" y="0"/>
                    </a:lnTo>
                    <a:close/>
                  </a:path>
                </a:pathLst>
              </a:custGeom>
              <a:solidFill>
                <a:srgbClr val="000000"/>
              </a:solidFill>
              <a:ln w="9525">
                <a:noFill/>
                <a:round/>
                <a:headEnd/>
                <a:tailEnd/>
              </a:ln>
            </p:spPr>
            <p:txBody>
              <a:bodyPr/>
              <a:lstStyle/>
              <a:p>
                <a:endParaRPr lang="fr-FR"/>
              </a:p>
            </p:txBody>
          </p:sp>
          <p:sp>
            <p:nvSpPr>
              <p:cNvPr id="10304" name="Freeform 1064"/>
              <p:cNvSpPr>
                <a:spLocks/>
              </p:cNvSpPr>
              <p:nvPr/>
            </p:nvSpPr>
            <p:spPr bwMode="auto">
              <a:xfrm>
                <a:off x="4064" y="2025"/>
                <a:ext cx="35" cy="57"/>
              </a:xfrm>
              <a:custGeom>
                <a:avLst/>
                <a:gdLst>
                  <a:gd name="T0" fmla="*/ 0 w 104"/>
                  <a:gd name="T1" fmla="*/ 0 h 172"/>
                  <a:gd name="T2" fmla="*/ 0 w 104"/>
                  <a:gd name="T3" fmla="*/ 0 h 172"/>
                  <a:gd name="T4" fmla="*/ 0 w 104"/>
                  <a:gd name="T5" fmla="*/ 0 h 172"/>
                  <a:gd name="T6" fmla="*/ 0 w 104"/>
                  <a:gd name="T7" fmla="*/ 0 h 172"/>
                  <a:gd name="T8" fmla="*/ 0 w 104"/>
                  <a:gd name="T9" fmla="*/ 0 h 172"/>
                  <a:gd name="T10" fmla="*/ 0 w 104"/>
                  <a:gd name="T11" fmla="*/ 0 h 172"/>
                  <a:gd name="T12" fmla="*/ 0 w 104"/>
                  <a:gd name="T13" fmla="*/ 0 h 172"/>
                  <a:gd name="T14" fmla="*/ 0 w 104"/>
                  <a:gd name="T15" fmla="*/ 0 h 172"/>
                  <a:gd name="T16" fmla="*/ 0 w 104"/>
                  <a:gd name="T17" fmla="*/ 0 h 172"/>
                  <a:gd name="T18" fmla="*/ 0 w 104"/>
                  <a:gd name="T19" fmla="*/ 0 h 172"/>
                  <a:gd name="T20" fmla="*/ 0 w 104"/>
                  <a:gd name="T21" fmla="*/ 0 h 172"/>
                  <a:gd name="T22" fmla="*/ 0 w 104"/>
                  <a:gd name="T23" fmla="*/ 0 h 172"/>
                  <a:gd name="T24" fmla="*/ 0 w 104"/>
                  <a:gd name="T25" fmla="*/ 0 h 172"/>
                  <a:gd name="T26" fmla="*/ 0 w 104"/>
                  <a:gd name="T27" fmla="*/ 0 h 172"/>
                  <a:gd name="T28" fmla="*/ 0 w 104"/>
                  <a:gd name="T29" fmla="*/ 0 h 172"/>
                  <a:gd name="T30" fmla="*/ 0 w 104"/>
                  <a:gd name="T31" fmla="*/ 0 h 172"/>
                  <a:gd name="T32" fmla="*/ 0 w 104"/>
                  <a:gd name="T33" fmla="*/ 0 h 172"/>
                  <a:gd name="T34" fmla="*/ 0 w 104"/>
                  <a:gd name="T35" fmla="*/ 0 h 172"/>
                  <a:gd name="T36" fmla="*/ 0 w 104"/>
                  <a:gd name="T37" fmla="*/ 0 h 172"/>
                  <a:gd name="T38" fmla="*/ 0 w 104"/>
                  <a:gd name="T39" fmla="*/ 0 h 172"/>
                  <a:gd name="T40" fmla="*/ 0 w 104"/>
                  <a:gd name="T41" fmla="*/ 0 h 172"/>
                  <a:gd name="T42" fmla="*/ 0 w 104"/>
                  <a:gd name="T43" fmla="*/ 0 h 172"/>
                  <a:gd name="T44" fmla="*/ 0 w 104"/>
                  <a:gd name="T45" fmla="*/ 0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72"/>
                  <a:gd name="T71" fmla="*/ 104 w 104"/>
                  <a:gd name="T72" fmla="*/ 172 h 1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72">
                    <a:moveTo>
                      <a:pt x="63" y="0"/>
                    </a:moveTo>
                    <a:lnTo>
                      <a:pt x="48" y="33"/>
                    </a:lnTo>
                    <a:lnTo>
                      <a:pt x="2" y="47"/>
                    </a:lnTo>
                    <a:lnTo>
                      <a:pt x="0" y="73"/>
                    </a:lnTo>
                    <a:lnTo>
                      <a:pt x="30" y="98"/>
                    </a:lnTo>
                    <a:lnTo>
                      <a:pt x="43" y="134"/>
                    </a:lnTo>
                    <a:lnTo>
                      <a:pt x="48" y="172"/>
                    </a:lnTo>
                    <a:lnTo>
                      <a:pt x="66" y="131"/>
                    </a:lnTo>
                    <a:lnTo>
                      <a:pt x="61" y="98"/>
                    </a:lnTo>
                    <a:lnTo>
                      <a:pt x="48" y="108"/>
                    </a:lnTo>
                    <a:lnTo>
                      <a:pt x="26" y="77"/>
                    </a:lnTo>
                    <a:lnTo>
                      <a:pt x="17" y="64"/>
                    </a:lnTo>
                    <a:lnTo>
                      <a:pt x="51" y="47"/>
                    </a:lnTo>
                    <a:lnTo>
                      <a:pt x="63" y="25"/>
                    </a:lnTo>
                    <a:lnTo>
                      <a:pt x="70" y="70"/>
                    </a:lnTo>
                    <a:lnTo>
                      <a:pt x="92" y="96"/>
                    </a:lnTo>
                    <a:lnTo>
                      <a:pt x="104" y="128"/>
                    </a:lnTo>
                    <a:lnTo>
                      <a:pt x="101" y="88"/>
                    </a:lnTo>
                    <a:lnTo>
                      <a:pt x="83" y="70"/>
                    </a:lnTo>
                    <a:lnTo>
                      <a:pt x="89" y="39"/>
                    </a:lnTo>
                    <a:lnTo>
                      <a:pt x="78" y="6"/>
                    </a:lnTo>
                    <a:lnTo>
                      <a:pt x="63" y="0"/>
                    </a:lnTo>
                    <a:close/>
                  </a:path>
                </a:pathLst>
              </a:custGeom>
              <a:solidFill>
                <a:srgbClr val="000000"/>
              </a:solidFill>
              <a:ln w="9525">
                <a:noFill/>
                <a:round/>
                <a:headEnd/>
                <a:tailEnd/>
              </a:ln>
            </p:spPr>
            <p:txBody>
              <a:bodyPr/>
              <a:lstStyle/>
              <a:p>
                <a:endParaRPr lang="fr-FR"/>
              </a:p>
            </p:txBody>
          </p:sp>
          <p:sp>
            <p:nvSpPr>
              <p:cNvPr id="10305" name="Freeform 1065"/>
              <p:cNvSpPr>
                <a:spLocks/>
              </p:cNvSpPr>
              <p:nvPr/>
            </p:nvSpPr>
            <p:spPr bwMode="auto">
              <a:xfrm>
                <a:off x="4008" y="2051"/>
                <a:ext cx="50" cy="41"/>
              </a:xfrm>
              <a:custGeom>
                <a:avLst/>
                <a:gdLst>
                  <a:gd name="T0" fmla="*/ 0 w 151"/>
                  <a:gd name="T1" fmla="*/ 0 h 125"/>
                  <a:gd name="T2" fmla="*/ 0 w 151"/>
                  <a:gd name="T3" fmla="*/ 0 h 125"/>
                  <a:gd name="T4" fmla="*/ 0 w 151"/>
                  <a:gd name="T5" fmla="*/ 0 h 125"/>
                  <a:gd name="T6" fmla="*/ 0 w 151"/>
                  <a:gd name="T7" fmla="*/ 0 h 125"/>
                  <a:gd name="T8" fmla="*/ 0 w 151"/>
                  <a:gd name="T9" fmla="*/ 0 h 125"/>
                  <a:gd name="T10" fmla="*/ 0 w 151"/>
                  <a:gd name="T11" fmla="*/ 0 h 125"/>
                  <a:gd name="T12" fmla="*/ 0 w 151"/>
                  <a:gd name="T13" fmla="*/ 0 h 125"/>
                  <a:gd name="T14" fmla="*/ 0 w 151"/>
                  <a:gd name="T15" fmla="*/ 0 h 125"/>
                  <a:gd name="T16" fmla="*/ 0 w 151"/>
                  <a:gd name="T17" fmla="*/ 0 h 125"/>
                  <a:gd name="T18" fmla="*/ 0 w 151"/>
                  <a:gd name="T19" fmla="*/ 0 h 125"/>
                  <a:gd name="T20" fmla="*/ 0 w 151"/>
                  <a:gd name="T21" fmla="*/ 0 h 125"/>
                  <a:gd name="T22" fmla="*/ 0 w 151"/>
                  <a:gd name="T23" fmla="*/ 0 h 125"/>
                  <a:gd name="T24" fmla="*/ 0 w 151"/>
                  <a:gd name="T25" fmla="*/ 0 h 125"/>
                  <a:gd name="T26" fmla="*/ 0 w 151"/>
                  <a:gd name="T27" fmla="*/ 0 h 125"/>
                  <a:gd name="T28" fmla="*/ 0 w 151"/>
                  <a:gd name="T29" fmla="*/ 0 h 125"/>
                  <a:gd name="T30" fmla="*/ 0 w 151"/>
                  <a:gd name="T31" fmla="*/ 0 h 125"/>
                  <a:gd name="T32" fmla="*/ 0 w 151"/>
                  <a:gd name="T33" fmla="*/ 0 h 125"/>
                  <a:gd name="T34" fmla="*/ 0 w 151"/>
                  <a:gd name="T35" fmla="*/ 0 h 125"/>
                  <a:gd name="T36" fmla="*/ 0 w 151"/>
                  <a:gd name="T37" fmla="*/ 0 h 125"/>
                  <a:gd name="T38" fmla="*/ 0 w 151"/>
                  <a:gd name="T39" fmla="*/ 0 h 125"/>
                  <a:gd name="T40" fmla="*/ 0 w 151"/>
                  <a:gd name="T41" fmla="*/ 0 h 1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1"/>
                  <a:gd name="T64" fmla="*/ 0 h 125"/>
                  <a:gd name="T65" fmla="*/ 151 w 151"/>
                  <a:gd name="T66" fmla="*/ 125 h 1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1" h="125">
                    <a:moveTo>
                      <a:pt x="151" y="0"/>
                    </a:moveTo>
                    <a:lnTo>
                      <a:pt x="133" y="24"/>
                    </a:lnTo>
                    <a:lnTo>
                      <a:pt x="87" y="8"/>
                    </a:lnTo>
                    <a:lnTo>
                      <a:pt x="93" y="39"/>
                    </a:lnTo>
                    <a:lnTo>
                      <a:pt x="60" y="31"/>
                    </a:lnTo>
                    <a:lnTo>
                      <a:pt x="40" y="8"/>
                    </a:lnTo>
                    <a:lnTo>
                      <a:pt x="43" y="58"/>
                    </a:lnTo>
                    <a:lnTo>
                      <a:pt x="14" y="74"/>
                    </a:lnTo>
                    <a:lnTo>
                      <a:pt x="0" y="33"/>
                    </a:lnTo>
                    <a:lnTo>
                      <a:pt x="11" y="83"/>
                    </a:lnTo>
                    <a:lnTo>
                      <a:pt x="56" y="79"/>
                    </a:lnTo>
                    <a:lnTo>
                      <a:pt x="62" y="48"/>
                    </a:lnTo>
                    <a:lnTo>
                      <a:pt x="87" y="68"/>
                    </a:lnTo>
                    <a:lnTo>
                      <a:pt x="72" y="120"/>
                    </a:lnTo>
                    <a:lnTo>
                      <a:pt x="83" y="125"/>
                    </a:lnTo>
                    <a:lnTo>
                      <a:pt x="105" y="85"/>
                    </a:lnTo>
                    <a:lnTo>
                      <a:pt x="108" y="36"/>
                    </a:lnTo>
                    <a:lnTo>
                      <a:pt x="139" y="63"/>
                    </a:lnTo>
                    <a:lnTo>
                      <a:pt x="145" y="21"/>
                    </a:lnTo>
                    <a:lnTo>
                      <a:pt x="151" y="0"/>
                    </a:lnTo>
                    <a:close/>
                  </a:path>
                </a:pathLst>
              </a:custGeom>
              <a:solidFill>
                <a:srgbClr val="000000"/>
              </a:solidFill>
              <a:ln w="9525">
                <a:noFill/>
                <a:round/>
                <a:headEnd/>
                <a:tailEnd/>
              </a:ln>
            </p:spPr>
            <p:txBody>
              <a:bodyPr/>
              <a:lstStyle/>
              <a:p>
                <a:endParaRPr lang="fr-FR"/>
              </a:p>
            </p:txBody>
          </p:sp>
          <p:sp>
            <p:nvSpPr>
              <p:cNvPr id="10306" name="Freeform 1066"/>
              <p:cNvSpPr>
                <a:spLocks/>
              </p:cNvSpPr>
              <p:nvPr/>
            </p:nvSpPr>
            <p:spPr bwMode="auto">
              <a:xfrm>
                <a:off x="4134" y="2017"/>
                <a:ext cx="17" cy="49"/>
              </a:xfrm>
              <a:custGeom>
                <a:avLst/>
                <a:gdLst>
                  <a:gd name="T0" fmla="*/ 0 w 49"/>
                  <a:gd name="T1" fmla="*/ 0 h 147"/>
                  <a:gd name="T2" fmla="*/ 0 w 49"/>
                  <a:gd name="T3" fmla="*/ 0 h 147"/>
                  <a:gd name="T4" fmla="*/ 0 w 49"/>
                  <a:gd name="T5" fmla="*/ 0 h 147"/>
                  <a:gd name="T6" fmla="*/ 0 w 49"/>
                  <a:gd name="T7" fmla="*/ 0 h 147"/>
                  <a:gd name="T8" fmla="*/ 0 w 49"/>
                  <a:gd name="T9" fmla="*/ 0 h 147"/>
                  <a:gd name="T10" fmla="*/ 0 w 49"/>
                  <a:gd name="T11" fmla="*/ 0 h 147"/>
                  <a:gd name="T12" fmla="*/ 0 w 49"/>
                  <a:gd name="T13" fmla="*/ 0 h 147"/>
                  <a:gd name="T14" fmla="*/ 0 w 49"/>
                  <a:gd name="T15" fmla="*/ 0 h 147"/>
                  <a:gd name="T16" fmla="*/ 0 w 49"/>
                  <a:gd name="T17" fmla="*/ 0 h 147"/>
                  <a:gd name="T18" fmla="*/ 0 w 49"/>
                  <a:gd name="T19" fmla="*/ 0 h 147"/>
                  <a:gd name="T20" fmla="*/ 0 w 49"/>
                  <a:gd name="T21" fmla="*/ 0 h 147"/>
                  <a:gd name="T22" fmla="*/ 0 w 49"/>
                  <a:gd name="T23" fmla="*/ 0 h 147"/>
                  <a:gd name="T24" fmla="*/ 0 w 49"/>
                  <a:gd name="T25" fmla="*/ 0 h 147"/>
                  <a:gd name="T26" fmla="*/ 0 w 49"/>
                  <a:gd name="T27" fmla="*/ 0 h 1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9"/>
                  <a:gd name="T43" fmla="*/ 0 h 147"/>
                  <a:gd name="T44" fmla="*/ 49 w 49"/>
                  <a:gd name="T45" fmla="*/ 147 h 1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9" h="147">
                    <a:moveTo>
                      <a:pt x="1" y="0"/>
                    </a:moveTo>
                    <a:lnTo>
                      <a:pt x="28" y="23"/>
                    </a:lnTo>
                    <a:lnTo>
                      <a:pt x="12" y="64"/>
                    </a:lnTo>
                    <a:lnTo>
                      <a:pt x="16" y="89"/>
                    </a:lnTo>
                    <a:lnTo>
                      <a:pt x="4" y="116"/>
                    </a:lnTo>
                    <a:lnTo>
                      <a:pt x="0" y="147"/>
                    </a:lnTo>
                    <a:lnTo>
                      <a:pt x="23" y="121"/>
                    </a:lnTo>
                    <a:lnTo>
                      <a:pt x="49" y="98"/>
                    </a:lnTo>
                    <a:lnTo>
                      <a:pt x="38" y="77"/>
                    </a:lnTo>
                    <a:lnTo>
                      <a:pt x="35" y="43"/>
                    </a:lnTo>
                    <a:lnTo>
                      <a:pt x="43" y="16"/>
                    </a:lnTo>
                    <a:lnTo>
                      <a:pt x="19" y="4"/>
                    </a:lnTo>
                    <a:lnTo>
                      <a:pt x="1" y="0"/>
                    </a:lnTo>
                    <a:close/>
                  </a:path>
                </a:pathLst>
              </a:custGeom>
              <a:solidFill>
                <a:srgbClr val="000000"/>
              </a:solidFill>
              <a:ln w="9525">
                <a:noFill/>
                <a:round/>
                <a:headEnd/>
                <a:tailEnd/>
              </a:ln>
            </p:spPr>
            <p:txBody>
              <a:bodyPr/>
              <a:lstStyle/>
              <a:p>
                <a:endParaRPr lang="fr-FR"/>
              </a:p>
            </p:txBody>
          </p:sp>
          <p:sp>
            <p:nvSpPr>
              <p:cNvPr id="10307" name="Freeform 1067"/>
              <p:cNvSpPr>
                <a:spLocks/>
              </p:cNvSpPr>
              <p:nvPr/>
            </p:nvSpPr>
            <p:spPr bwMode="auto">
              <a:xfrm>
                <a:off x="4134" y="1828"/>
                <a:ext cx="129" cy="82"/>
              </a:xfrm>
              <a:custGeom>
                <a:avLst/>
                <a:gdLst>
                  <a:gd name="T0" fmla="*/ 0 w 386"/>
                  <a:gd name="T1" fmla="*/ 0 h 246"/>
                  <a:gd name="T2" fmla="*/ 0 w 386"/>
                  <a:gd name="T3" fmla="*/ 0 h 246"/>
                  <a:gd name="T4" fmla="*/ 0 w 386"/>
                  <a:gd name="T5" fmla="*/ 0 h 246"/>
                  <a:gd name="T6" fmla="*/ 0 w 386"/>
                  <a:gd name="T7" fmla="*/ 0 h 246"/>
                  <a:gd name="T8" fmla="*/ 0 w 386"/>
                  <a:gd name="T9" fmla="*/ 0 h 246"/>
                  <a:gd name="T10" fmla="*/ 0 w 386"/>
                  <a:gd name="T11" fmla="*/ 0 h 246"/>
                  <a:gd name="T12" fmla="*/ 0 w 386"/>
                  <a:gd name="T13" fmla="*/ 0 h 246"/>
                  <a:gd name="T14" fmla="*/ 0 w 386"/>
                  <a:gd name="T15" fmla="*/ 0 h 246"/>
                  <a:gd name="T16" fmla="*/ 0 w 386"/>
                  <a:gd name="T17" fmla="*/ 0 h 246"/>
                  <a:gd name="T18" fmla="*/ 0 w 386"/>
                  <a:gd name="T19" fmla="*/ 0 h 246"/>
                  <a:gd name="T20" fmla="*/ 0 w 386"/>
                  <a:gd name="T21" fmla="*/ 0 h 246"/>
                  <a:gd name="T22" fmla="*/ 0 w 386"/>
                  <a:gd name="T23" fmla="*/ 0 h 246"/>
                  <a:gd name="T24" fmla="*/ 0 w 386"/>
                  <a:gd name="T25" fmla="*/ 0 h 246"/>
                  <a:gd name="T26" fmla="*/ 0 w 386"/>
                  <a:gd name="T27" fmla="*/ 0 h 246"/>
                  <a:gd name="T28" fmla="*/ 0 w 386"/>
                  <a:gd name="T29" fmla="*/ 0 h 246"/>
                  <a:gd name="T30" fmla="*/ 0 w 386"/>
                  <a:gd name="T31" fmla="*/ 0 h 246"/>
                  <a:gd name="T32" fmla="*/ 0 w 386"/>
                  <a:gd name="T33" fmla="*/ 0 h 246"/>
                  <a:gd name="T34" fmla="*/ 0 w 386"/>
                  <a:gd name="T35" fmla="*/ 0 h 246"/>
                  <a:gd name="T36" fmla="*/ 0 w 386"/>
                  <a:gd name="T37" fmla="*/ 0 h 246"/>
                  <a:gd name="T38" fmla="*/ 0 w 386"/>
                  <a:gd name="T39" fmla="*/ 0 h 246"/>
                  <a:gd name="T40" fmla="*/ 0 w 386"/>
                  <a:gd name="T41" fmla="*/ 0 h 246"/>
                  <a:gd name="T42" fmla="*/ 0 w 386"/>
                  <a:gd name="T43" fmla="*/ 0 h 246"/>
                  <a:gd name="T44" fmla="*/ 0 w 386"/>
                  <a:gd name="T45" fmla="*/ 0 h 246"/>
                  <a:gd name="T46" fmla="*/ 0 w 386"/>
                  <a:gd name="T47" fmla="*/ 0 h 246"/>
                  <a:gd name="T48" fmla="*/ 0 w 386"/>
                  <a:gd name="T49" fmla="*/ 0 h 246"/>
                  <a:gd name="T50" fmla="*/ 0 w 386"/>
                  <a:gd name="T51" fmla="*/ 0 h 246"/>
                  <a:gd name="T52" fmla="*/ 0 w 386"/>
                  <a:gd name="T53" fmla="*/ 0 h 246"/>
                  <a:gd name="T54" fmla="*/ 0 w 386"/>
                  <a:gd name="T55" fmla="*/ 0 h 246"/>
                  <a:gd name="T56" fmla="*/ 0 w 386"/>
                  <a:gd name="T57" fmla="*/ 0 h 246"/>
                  <a:gd name="T58" fmla="*/ 0 w 386"/>
                  <a:gd name="T59" fmla="*/ 0 h 246"/>
                  <a:gd name="T60" fmla="*/ 0 w 386"/>
                  <a:gd name="T61" fmla="*/ 0 h 246"/>
                  <a:gd name="T62" fmla="*/ 0 w 386"/>
                  <a:gd name="T63" fmla="*/ 0 h 2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86"/>
                  <a:gd name="T97" fmla="*/ 0 h 246"/>
                  <a:gd name="T98" fmla="*/ 386 w 386"/>
                  <a:gd name="T99" fmla="*/ 246 h 24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86" h="246">
                    <a:moveTo>
                      <a:pt x="0" y="102"/>
                    </a:moveTo>
                    <a:lnTo>
                      <a:pt x="52" y="89"/>
                    </a:lnTo>
                    <a:lnTo>
                      <a:pt x="87" y="61"/>
                    </a:lnTo>
                    <a:lnTo>
                      <a:pt x="130" y="55"/>
                    </a:lnTo>
                    <a:lnTo>
                      <a:pt x="193" y="67"/>
                    </a:lnTo>
                    <a:lnTo>
                      <a:pt x="239" y="50"/>
                    </a:lnTo>
                    <a:lnTo>
                      <a:pt x="283" y="50"/>
                    </a:lnTo>
                    <a:lnTo>
                      <a:pt x="341" y="12"/>
                    </a:lnTo>
                    <a:lnTo>
                      <a:pt x="386" y="0"/>
                    </a:lnTo>
                    <a:lnTo>
                      <a:pt x="338" y="43"/>
                    </a:lnTo>
                    <a:lnTo>
                      <a:pt x="289" y="55"/>
                    </a:lnTo>
                    <a:lnTo>
                      <a:pt x="246" y="80"/>
                    </a:lnTo>
                    <a:lnTo>
                      <a:pt x="193" y="72"/>
                    </a:lnTo>
                    <a:lnTo>
                      <a:pt x="175" y="138"/>
                    </a:lnTo>
                    <a:lnTo>
                      <a:pt x="139" y="165"/>
                    </a:lnTo>
                    <a:lnTo>
                      <a:pt x="126" y="199"/>
                    </a:lnTo>
                    <a:lnTo>
                      <a:pt x="87" y="218"/>
                    </a:lnTo>
                    <a:lnTo>
                      <a:pt x="64" y="230"/>
                    </a:lnTo>
                    <a:lnTo>
                      <a:pt x="47" y="246"/>
                    </a:lnTo>
                    <a:lnTo>
                      <a:pt x="55" y="209"/>
                    </a:lnTo>
                    <a:lnTo>
                      <a:pt x="31" y="184"/>
                    </a:lnTo>
                    <a:lnTo>
                      <a:pt x="43" y="148"/>
                    </a:lnTo>
                    <a:lnTo>
                      <a:pt x="64" y="132"/>
                    </a:lnTo>
                    <a:lnTo>
                      <a:pt x="59" y="172"/>
                    </a:lnTo>
                    <a:lnTo>
                      <a:pt x="75" y="188"/>
                    </a:lnTo>
                    <a:lnTo>
                      <a:pt x="119" y="169"/>
                    </a:lnTo>
                    <a:lnTo>
                      <a:pt x="166" y="84"/>
                    </a:lnTo>
                    <a:lnTo>
                      <a:pt x="114" y="84"/>
                    </a:lnTo>
                    <a:lnTo>
                      <a:pt x="96" y="77"/>
                    </a:lnTo>
                    <a:lnTo>
                      <a:pt x="52" y="102"/>
                    </a:lnTo>
                    <a:lnTo>
                      <a:pt x="0" y="102"/>
                    </a:lnTo>
                    <a:close/>
                  </a:path>
                </a:pathLst>
              </a:custGeom>
              <a:solidFill>
                <a:srgbClr val="000000"/>
              </a:solidFill>
              <a:ln w="9525">
                <a:noFill/>
                <a:round/>
                <a:headEnd/>
                <a:tailEnd/>
              </a:ln>
            </p:spPr>
            <p:txBody>
              <a:bodyPr/>
              <a:lstStyle/>
              <a:p>
                <a:endParaRPr lang="fr-FR"/>
              </a:p>
            </p:txBody>
          </p:sp>
          <p:sp>
            <p:nvSpPr>
              <p:cNvPr id="10308" name="Freeform 1068"/>
              <p:cNvSpPr>
                <a:spLocks/>
              </p:cNvSpPr>
              <p:nvPr/>
            </p:nvSpPr>
            <p:spPr bwMode="auto">
              <a:xfrm>
                <a:off x="4275" y="1633"/>
                <a:ext cx="281" cy="189"/>
              </a:xfrm>
              <a:custGeom>
                <a:avLst/>
                <a:gdLst>
                  <a:gd name="T0" fmla="*/ 0 w 842"/>
                  <a:gd name="T1" fmla="*/ 0 h 568"/>
                  <a:gd name="T2" fmla="*/ 0 w 842"/>
                  <a:gd name="T3" fmla="*/ 0 h 568"/>
                  <a:gd name="T4" fmla="*/ 0 w 842"/>
                  <a:gd name="T5" fmla="*/ 0 h 568"/>
                  <a:gd name="T6" fmla="*/ 0 w 842"/>
                  <a:gd name="T7" fmla="*/ 0 h 568"/>
                  <a:gd name="T8" fmla="*/ 0 w 842"/>
                  <a:gd name="T9" fmla="*/ 0 h 568"/>
                  <a:gd name="T10" fmla="*/ 0 w 842"/>
                  <a:gd name="T11" fmla="*/ 0 h 568"/>
                  <a:gd name="T12" fmla="*/ 0 w 842"/>
                  <a:gd name="T13" fmla="*/ 0 h 568"/>
                  <a:gd name="T14" fmla="*/ 0 w 842"/>
                  <a:gd name="T15" fmla="*/ 0 h 568"/>
                  <a:gd name="T16" fmla="*/ 0 w 842"/>
                  <a:gd name="T17" fmla="*/ 0 h 568"/>
                  <a:gd name="T18" fmla="*/ 0 w 842"/>
                  <a:gd name="T19" fmla="*/ 0 h 568"/>
                  <a:gd name="T20" fmla="*/ 0 w 842"/>
                  <a:gd name="T21" fmla="*/ 0 h 568"/>
                  <a:gd name="T22" fmla="*/ 0 w 842"/>
                  <a:gd name="T23" fmla="*/ 0 h 568"/>
                  <a:gd name="T24" fmla="*/ 0 w 842"/>
                  <a:gd name="T25" fmla="*/ 0 h 568"/>
                  <a:gd name="T26" fmla="*/ 0 w 842"/>
                  <a:gd name="T27" fmla="*/ 0 h 568"/>
                  <a:gd name="T28" fmla="*/ 0 w 842"/>
                  <a:gd name="T29" fmla="*/ 0 h 568"/>
                  <a:gd name="T30" fmla="*/ 0 w 842"/>
                  <a:gd name="T31" fmla="*/ 0 h 568"/>
                  <a:gd name="T32" fmla="*/ 0 w 842"/>
                  <a:gd name="T33" fmla="*/ 0 h 568"/>
                  <a:gd name="T34" fmla="*/ 0 w 842"/>
                  <a:gd name="T35" fmla="*/ 0 h 568"/>
                  <a:gd name="T36" fmla="*/ 0 w 842"/>
                  <a:gd name="T37" fmla="*/ 0 h 568"/>
                  <a:gd name="T38" fmla="*/ 0 w 842"/>
                  <a:gd name="T39" fmla="*/ 0 h 568"/>
                  <a:gd name="T40" fmla="*/ 0 w 842"/>
                  <a:gd name="T41" fmla="*/ 0 h 568"/>
                  <a:gd name="T42" fmla="*/ 0 w 842"/>
                  <a:gd name="T43" fmla="*/ 0 h 568"/>
                  <a:gd name="T44" fmla="*/ 0 w 842"/>
                  <a:gd name="T45" fmla="*/ 0 h 568"/>
                  <a:gd name="T46" fmla="*/ 0 w 842"/>
                  <a:gd name="T47" fmla="*/ 0 h 568"/>
                  <a:gd name="T48" fmla="*/ 0 w 842"/>
                  <a:gd name="T49" fmla="*/ 0 h 568"/>
                  <a:gd name="T50" fmla="*/ 0 w 842"/>
                  <a:gd name="T51" fmla="*/ 0 h 568"/>
                  <a:gd name="T52" fmla="*/ 0 w 842"/>
                  <a:gd name="T53" fmla="*/ 0 h 568"/>
                  <a:gd name="T54" fmla="*/ 0 w 842"/>
                  <a:gd name="T55" fmla="*/ 0 h 568"/>
                  <a:gd name="T56" fmla="*/ 0 w 842"/>
                  <a:gd name="T57" fmla="*/ 0 h 568"/>
                  <a:gd name="T58" fmla="*/ 0 w 842"/>
                  <a:gd name="T59" fmla="*/ 0 h 568"/>
                  <a:gd name="T60" fmla="*/ 0 w 842"/>
                  <a:gd name="T61" fmla="*/ 0 h 568"/>
                  <a:gd name="T62" fmla="*/ 0 w 842"/>
                  <a:gd name="T63" fmla="*/ 0 h 568"/>
                  <a:gd name="T64" fmla="*/ 0 w 842"/>
                  <a:gd name="T65" fmla="*/ 0 h 568"/>
                  <a:gd name="T66" fmla="*/ 0 w 842"/>
                  <a:gd name="T67" fmla="*/ 0 h 568"/>
                  <a:gd name="T68" fmla="*/ 0 w 842"/>
                  <a:gd name="T69" fmla="*/ 0 h 568"/>
                  <a:gd name="T70" fmla="*/ 0 w 842"/>
                  <a:gd name="T71" fmla="*/ 0 h 568"/>
                  <a:gd name="T72" fmla="*/ 0 w 842"/>
                  <a:gd name="T73" fmla="*/ 0 h 568"/>
                  <a:gd name="T74" fmla="*/ 0 w 842"/>
                  <a:gd name="T75" fmla="*/ 0 h 5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42"/>
                  <a:gd name="T115" fmla="*/ 0 h 568"/>
                  <a:gd name="T116" fmla="*/ 842 w 842"/>
                  <a:gd name="T117" fmla="*/ 568 h 5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42" h="568">
                    <a:moveTo>
                      <a:pt x="0" y="568"/>
                    </a:moveTo>
                    <a:lnTo>
                      <a:pt x="58" y="554"/>
                    </a:lnTo>
                    <a:lnTo>
                      <a:pt x="116" y="547"/>
                    </a:lnTo>
                    <a:lnTo>
                      <a:pt x="159" y="514"/>
                    </a:lnTo>
                    <a:lnTo>
                      <a:pt x="209" y="504"/>
                    </a:lnTo>
                    <a:lnTo>
                      <a:pt x="252" y="501"/>
                    </a:lnTo>
                    <a:lnTo>
                      <a:pt x="297" y="473"/>
                    </a:lnTo>
                    <a:lnTo>
                      <a:pt x="349" y="453"/>
                    </a:lnTo>
                    <a:lnTo>
                      <a:pt x="395" y="428"/>
                    </a:lnTo>
                    <a:lnTo>
                      <a:pt x="423" y="410"/>
                    </a:lnTo>
                    <a:lnTo>
                      <a:pt x="481" y="378"/>
                    </a:lnTo>
                    <a:lnTo>
                      <a:pt x="530" y="339"/>
                    </a:lnTo>
                    <a:lnTo>
                      <a:pt x="579" y="326"/>
                    </a:lnTo>
                    <a:lnTo>
                      <a:pt x="618" y="297"/>
                    </a:lnTo>
                    <a:lnTo>
                      <a:pt x="640" y="263"/>
                    </a:lnTo>
                    <a:lnTo>
                      <a:pt x="704" y="238"/>
                    </a:lnTo>
                    <a:lnTo>
                      <a:pt x="734" y="198"/>
                    </a:lnTo>
                    <a:lnTo>
                      <a:pt x="762" y="186"/>
                    </a:lnTo>
                    <a:lnTo>
                      <a:pt x="778" y="133"/>
                    </a:lnTo>
                    <a:lnTo>
                      <a:pt x="796" y="91"/>
                    </a:lnTo>
                    <a:lnTo>
                      <a:pt x="792" y="54"/>
                    </a:lnTo>
                    <a:lnTo>
                      <a:pt x="756" y="82"/>
                    </a:lnTo>
                    <a:lnTo>
                      <a:pt x="731" y="87"/>
                    </a:lnTo>
                    <a:lnTo>
                      <a:pt x="716" y="122"/>
                    </a:lnTo>
                    <a:lnTo>
                      <a:pt x="680" y="133"/>
                    </a:lnTo>
                    <a:lnTo>
                      <a:pt x="633" y="162"/>
                    </a:lnTo>
                    <a:lnTo>
                      <a:pt x="599" y="183"/>
                    </a:lnTo>
                    <a:lnTo>
                      <a:pt x="569" y="195"/>
                    </a:lnTo>
                    <a:lnTo>
                      <a:pt x="542" y="223"/>
                    </a:lnTo>
                    <a:lnTo>
                      <a:pt x="509" y="220"/>
                    </a:lnTo>
                    <a:lnTo>
                      <a:pt x="466" y="231"/>
                    </a:lnTo>
                    <a:lnTo>
                      <a:pt x="444" y="256"/>
                    </a:lnTo>
                    <a:lnTo>
                      <a:pt x="401" y="263"/>
                    </a:lnTo>
                    <a:lnTo>
                      <a:pt x="365" y="295"/>
                    </a:lnTo>
                    <a:lnTo>
                      <a:pt x="322" y="292"/>
                    </a:lnTo>
                    <a:lnTo>
                      <a:pt x="361" y="283"/>
                    </a:lnTo>
                    <a:lnTo>
                      <a:pt x="395" y="247"/>
                    </a:lnTo>
                    <a:lnTo>
                      <a:pt x="420" y="241"/>
                    </a:lnTo>
                    <a:lnTo>
                      <a:pt x="462" y="202"/>
                    </a:lnTo>
                    <a:lnTo>
                      <a:pt x="509" y="211"/>
                    </a:lnTo>
                    <a:lnTo>
                      <a:pt x="554" y="177"/>
                    </a:lnTo>
                    <a:lnTo>
                      <a:pt x="604" y="165"/>
                    </a:lnTo>
                    <a:lnTo>
                      <a:pt x="643" y="122"/>
                    </a:lnTo>
                    <a:lnTo>
                      <a:pt x="683" y="119"/>
                    </a:lnTo>
                    <a:lnTo>
                      <a:pt x="708" y="69"/>
                    </a:lnTo>
                    <a:lnTo>
                      <a:pt x="762" y="43"/>
                    </a:lnTo>
                    <a:lnTo>
                      <a:pt x="787" y="5"/>
                    </a:lnTo>
                    <a:lnTo>
                      <a:pt x="829" y="0"/>
                    </a:lnTo>
                    <a:lnTo>
                      <a:pt x="842" y="54"/>
                    </a:lnTo>
                    <a:lnTo>
                      <a:pt x="812" y="107"/>
                    </a:lnTo>
                    <a:lnTo>
                      <a:pt x="806" y="162"/>
                    </a:lnTo>
                    <a:lnTo>
                      <a:pt x="780" y="191"/>
                    </a:lnTo>
                    <a:lnTo>
                      <a:pt x="741" y="216"/>
                    </a:lnTo>
                    <a:lnTo>
                      <a:pt x="704" y="253"/>
                    </a:lnTo>
                    <a:lnTo>
                      <a:pt x="651" y="302"/>
                    </a:lnTo>
                    <a:lnTo>
                      <a:pt x="622" y="312"/>
                    </a:lnTo>
                    <a:lnTo>
                      <a:pt x="569" y="341"/>
                    </a:lnTo>
                    <a:lnTo>
                      <a:pt x="523" y="370"/>
                    </a:lnTo>
                    <a:lnTo>
                      <a:pt x="495" y="378"/>
                    </a:lnTo>
                    <a:lnTo>
                      <a:pt x="466" y="413"/>
                    </a:lnTo>
                    <a:lnTo>
                      <a:pt x="426" y="436"/>
                    </a:lnTo>
                    <a:lnTo>
                      <a:pt x="405" y="436"/>
                    </a:lnTo>
                    <a:lnTo>
                      <a:pt x="395" y="461"/>
                    </a:lnTo>
                    <a:lnTo>
                      <a:pt x="358" y="501"/>
                    </a:lnTo>
                    <a:lnTo>
                      <a:pt x="361" y="479"/>
                    </a:lnTo>
                    <a:lnTo>
                      <a:pt x="343" y="467"/>
                    </a:lnTo>
                    <a:lnTo>
                      <a:pt x="307" y="482"/>
                    </a:lnTo>
                    <a:lnTo>
                      <a:pt x="272" y="505"/>
                    </a:lnTo>
                    <a:lnTo>
                      <a:pt x="272" y="540"/>
                    </a:lnTo>
                    <a:lnTo>
                      <a:pt x="250" y="554"/>
                    </a:lnTo>
                    <a:lnTo>
                      <a:pt x="241" y="523"/>
                    </a:lnTo>
                    <a:lnTo>
                      <a:pt x="199" y="543"/>
                    </a:lnTo>
                    <a:lnTo>
                      <a:pt x="137" y="547"/>
                    </a:lnTo>
                    <a:lnTo>
                      <a:pt x="104" y="565"/>
                    </a:lnTo>
                    <a:lnTo>
                      <a:pt x="68" y="565"/>
                    </a:lnTo>
                    <a:lnTo>
                      <a:pt x="0" y="568"/>
                    </a:lnTo>
                    <a:close/>
                  </a:path>
                </a:pathLst>
              </a:custGeom>
              <a:solidFill>
                <a:srgbClr val="000000"/>
              </a:solidFill>
              <a:ln w="9525">
                <a:noFill/>
                <a:round/>
                <a:headEnd/>
                <a:tailEnd/>
              </a:ln>
            </p:spPr>
            <p:txBody>
              <a:bodyPr/>
              <a:lstStyle/>
              <a:p>
                <a:endParaRPr lang="fr-FR"/>
              </a:p>
            </p:txBody>
          </p:sp>
          <p:sp>
            <p:nvSpPr>
              <p:cNvPr id="10309" name="Freeform 1069"/>
              <p:cNvSpPr>
                <a:spLocks/>
              </p:cNvSpPr>
              <p:nvPr/>
            </p:nvSpPr>
            <p:spPr bwMode="auto">
              <a:xfrm>
                <a:off x="4188" y="1699"/>
                <a:ext cx="184" cy="37"/>
              </a:xfrm>
              <a:custGeom>
                <a:avLst/>
                <a:gdLst>
                  <a:gd name="T0" fmla="*/ 0 w 554"/>
                  <a:gd name="T1" fmla="*/ 0 h 111"/>
                  <a:gd name="T2" fmla="*/ 0 w 554"/>
                  <a:gd name="T3" fmla="*/ 0 h 111"/>
                  <a:gd name="T4" fmla="*/ 0 w 554"/>
                  <a:gd name="T5" fmla="*/ 0 h 111"/>
                  <a:gd name="T6" fmla="*/ 0 w 554"/>
                  <a:gd name="T7" fmla="*/ 0 h 111"/>
                  <a:gd name="T8" fmla="*/ 0 w 554"/>
                  <a:gd name="T9" fmla="*/ 0 h 111"/>
                  <a:gd name="T10" fmla="*/ 0 w 554"/>
                  <a:gd name="T11" fmla="*/ 0 h 111"/>
                  <a:gd name="T12" fmla="*/ 0 w 554"/>
                  <a:gd name="T13" fmla="*/ 0 h 111"/>
                  <a:gd name="T14" fmla="*/ 0 w 554"/>
                  <a:gd name="T15" fmla="*/ 0 h 111"/>
                  <a:gd name="T16" fmla="*/ 0 w 554"/>
                  <a:gd name="T17" fmla="*/ 0 h 111"/>
                  <a:gd name="T18" fmla="*/ 0 w 554"/>
                  <a:gd name="T19" fmla="*/ 0 h 111"/>
                  <a:gd name="T20" fmla="*/ 0 w 554"/>
                  <a:gd name="T21" fmla="*/ 0 h 111"/>
                  <a:gd name="T22" fmla="*/ 0 w 554"/>
                  <a:gd name="T23" fmla="*/ 0 h 111"/>
                  <a:gd name="T24" fmla="*/ 0 w 554"/>
                  <a:gd name="T25" fmla="*/ 0 h 111"/>
                  <a:gd name="T26" fmla="*/ 0 w 554"/>
                  <a:gd name="T27" fmla="*/ 0 h 111"/>
                  <a:gd name="T28" fmla="*/ 0 w 554"/>
                  <a:gd name="T29" fmla="*/ 0 h 111"/>
                  <a:gd name="T30" fmla="*/ 0 w 554"/>
                  <a:gd name="T31" fmla="*/ 0 h 111"/>
                  <a:gd name="T32" fmla="*/ 0 w 554"/>
                  <a:gd name="T33" fmla="*/ 0 h 111"/>
                  <a:gd name="T34" fmla="*/ 0 w 554"/>
                  <a:gd name="T35" fmla="*/ 0 h 111"/>
                  <a:gd name="T36" fmla="*/ 0 w 554"/>
                  <a:gd name="T37" fmla="*/ 0 h 111"/>
                  <a:gd name="T38" fmla="*/ 0 w 554"/>
                  <a:gd name="T39" fmla="*/ 0 h 111"/>
                  <a:gd name="T40" fmla="*/ 0 w 554"/>
                  <a:gd name="T41" fmla="*/ 0 h 111"/>
                  <a:gd name="T42" fmla="*/ 0 w 554"/>
                  <a:gd name="T43" fmla="*/ 0 h 111"/>
                  <a:gd name="T44" fmla="*/ 0 w 554"/>
                  <a:gd name="T45" fmla="*/ 0 h 111"/>
                  <a:gd name="T46" fmla="*/ 0 w 554"/>
                  <a:gd name="T47" fmla="*/ 0 h 111"/>
                  <a:gd name="T48" fmla="*/ 0 w 554"/>
                  <a:gd name="T49" fmla="*/ 0 h 111"/>
                  <a:gd name="T50" fmla="*/ 0 w 554"/>
                  <a:gd name="T51" fmla="*/ 0 h 111"/>
                  <a:gd name="T52" fmla="*/ 0 w 554"/>
                  <a:gd name="T53" fmla="*/ 0 h 111"/>
                  <a:gd name="T54" fmla="*/ 0 w 554"/>
                  <a:gd name="T55" fmla="*/ 0 h 111"/>
                  <a:gd name="T56" fmla="*/ 0 w 554"/>
                  <a:gd name="T57" fmla="*/ 0 h 111"/>
                  <a:gd name="T58" fmla="*/ 0 w 554"/>
                  <a:gd name="T59" fmla="*/ 0 h 111"/>
                  <a:gd name="T60" fmla="*/ 0 w 554"/>
                  <a:gd name="T61" fmla="*/ 0 h 111"/>
                  <a:gd name="T62" fmla="*/ 0 w 554"/>
                  <a:gd name="T63" fmla="*/ 0 h 111"/>
                  <a:gd name="T64" fmla="*/ 0 w 554"/>
                  <a:gd name="T65" fmla="*/ 0 h 1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4"/>
                  <a:gd name="T100" fmla="*/ 0 h 111"/>
                  <a:gd name="T101" fmla="*/ 554 w 554"/>
                  <a:gd name="T102" fmla="*/ 111 h 1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4" h="111">
                    <a:moveTo>
                      <a:pt x="339" y="0"/>
                    </a:moveTo>
                    <a:lnTo>
                      <a:pt x="346" y="33"/>
                    </a:lnTo>
                    <a:lnTo>
                      <a:pt x="325" y="61"/>
                    </a:lnTo>
                    <a:lnTo>
                      <a:pt x="285" y="70"/>
                    </a:lnTo>
                    <a:lnTo>
                      <a:pt x="256" y="58"/>
                    </a:lnTo>
                    <a:lnTo>
                      <a:pt x="227" y="71"/>
                    </a:lnTo>
                    <a:lnTo>
                      <a:pt x="184" y="82"/>
                    </a:lnTo>
                    <a:lnTo>
                      <a:pt x="155" y="70"/>
                    </a:lnTo>
                    <a:lnTo>
                      <a:pt x="137" y="85"/>
                    </a:lnTo>
                    <a:lnTo>
                      <a:pt x="77" y="85"/>
                    </a:lnTo>
                    <a:lnTo>
                      <a:pt x="46" y="85"/>
                    </a:lnTo>
                    <a:lnTo>
                      <a:pt x="0" y="111"/>
                    </a:lnTo>
                    <a:lnTo>
                      <a:pt x="39" y="97"/>
                    </a:lnTo>
                    <a:lnTo>
                      <a:pt x="107" y="107"/>
                    </a:lnTo>
                    <a:lnTo>
                      <a:pt x="159" y="91"/>
                    </a:lnTo>
                    <a:lnTo>
                      <a:pt x="193" y="99"/>
                    </a:lnTo>
                    <a:lnTo>
                      <a:pt x="256" y="71"/>
                    </a:lnTo>
                    <a:lnTo>
                      <a:pt x="327" y="91"/>
                    </a:lnTo>
                    <a:lnTo>
                      <a:pt x="379" y="65"/>
                    </a:lnTo>
                    <a:lnTo>
                      <a:pt x="414" y="74"/>
                    </a:lnTo>
                    <a:lnTo>
                      <a:pt x="453" y="55"/>
                    </a:lnTo>
                    <a:lnTo>
                      <a:pt x="515" y="61"/>
                    </a:lnTo>
                    <a:lnTo>
                      <a:pt x="554" y="82"/>
                    </a:lnTo>
                    <a:lnTo>
                      <a:pt x="523" y="55"/>
                    </a:lnTo>
                    <a:lnTo>
                      <a:pt x="477" y="43"/>
                    </a:lnTo>
                    <a:lnTo>
                      <a:pt x="444" y="25"/>
                    </a:lnTo>
                    <a:lnTo>
                      <a:pt x="437" y="43"/>
                    </a:lnTo>
                    <a:lnTo>
                      <a:pt x="397" y="49"/>
                    </a:lnTo>
                    <a:lnTo>
                      <a:pt x="373" y="36"/>
                    </a:lnTo>
                    <a:lnTo>
                      <a:pt x="361" y="13"/>
                    </a:lnTo>
                    <a:lnTo>
                      <a:pt x="349" y="4"/>
                    </a:lnTo>
                    <a:lnTo>
                      <a:pt x="339" y="0"/>
                    </a:lnTo>
                    <a:close/>
                  </a:path>
                </a:pathLst>
              </a:custGeom>
              <a:solidFill>
                <a:srgbClr val="000000"/>
              </a:solidFill>
              <a:ln w="9525">
                <a:noFill/>
                <a:round/>
                <a:headEnd/>
                <a:tailEnd/>
              </a:ln>
            </p:spPr>
            <p:txBody>
              <a:bodyPr/>
              <a:lstStyle/>
              <a:p>
                <a:endParaRPr lang="fr-FR"/>
              </a:p>
            </p:txBody>
          </p:sp>
          <p:sp>
            <p:nvSpPr>
              <p:cNvPr id="10310" name="Freeform 1070"/>
              <p:cNvSpPr>
                <a:spLocks/>
              </p:cNvSpPr>
              <p:nvPr/>
            </p:nvSpPr>
            <p:spPr bwMode="auto">
              <a:xfrm>
                <a:off x="4154" y="1696"/>
                <a:ext cx="149" cy="40"/>
              </a:xfrm>
              <a:custGeom>
                <a:avLst/>
                <a:gdLst>
                  <a:gd name="T0" fmla="*/ 0 w 447"/>
                  <a:gd name="T1" fmla="*/ 0 h 118"/>
                  <a:gd name="T2" fmla="*/ 0 w 447"/>
                  <a:gd name="T3" fmla="*/ 0 h 118"/>
                  <a:gd name="T4" fmla="*/ 0 w 447"/>
                  <a:gd name="T5" fmla="*/ 0 h 118"/>
                  <a:gd name="T6" fmla="*/ 0 w 447"/>
                  <a:gd name="T7" fmla="*/ 0 h 118"/>
                  <a:gd name="T8" fmla="*/ 0 w 447"/>
                  <a:gd name="T9" fmla="*/ 0 h 118"/>
                  <a:gd name="T10" fmla="*/ 0 w 447"/>
                  <a:gd name="T11" fmla="*/ 0 h 118"/>
                  <a:gd name="T12" fmla="*/ 0 w 447"/>
                  <a:gd name="T13" fmla="*/ 0 h 118"/>
                  <a:gd name="T14" fmla="*/ 0 w 447"/>
                  <a:gd name="T15" fmla="*/ 0 h 118"/>
                  <a:gd name="T16" fmla="*/ 0 w 447"/>
                  <a:gd name="T17" fmla="*/ 0 h 118"/>
                  <a:gd name="T18" fmla="*/ 0 w 447"/>
                  <a:gd name="T19" fmla="*/ 0 h 118"/>
                  <a:gd name="T20" fmla="*/ 0 w 447"/>
                  <a:gd name="T21" fmla="*/ 0 h 118"/>
                  <a:gd name="T22" fmla="*/ 0 w 447"/>
                  <a:gd name="T23" fmla="*/ 0 h 118"/>
                  <a:gd name="T24" fmla="*/ 0 w 447"/>
                  <a:gd name="T25" fmla="*/ 0 h 118"/>
                  <a:gd name="T26" fmla="*/ 0 w 447"/>
                  <a:gd name="T27" fmla="*/ 0 h 118"/>
                  <a:gd name="T28" fmla="*/ 0 w 447"/>
                  <a:gd name="T29" fmla="*/ 0 h 118"/>
                  <a:gd name="T30" fmla="*/ 0 w 447"/>
                  <a:gd name="T31" fmla="*/ 0 h 118"/>
                  <a:gd name="T32" fmla="*/ 0 w 447"/>
                  <a:gd name="T33" fmla="*/ 0 h 118"/>
                  <a:gd name="T34" fmla="*/ 0 w 447"/>
                  <a:gd name="T35" fmla="*/ 0 h 118"/>
                  <a:gd name="T36" fmla="*/ 0 w 447"/>
                  <a:gd name="T37" fmla="*/ 0 h 118"/>
                  <a:gd name="T38" fmla="*/ 0 w 447"/>
                  <a:gd name="T39" fmla="*/ 0 h 118"/>
                  <a:gd name="T40" fmla="*/ 0 w 447"/>
                  <a:gd name="T41" fmla="*/ 0 h 118"/>
                  <a:gd name="T42" fmla="*/ 0 w 447"/>
                  <a:gd name="T43" fmla="*/ 0 h 118"/>
                  <a:gd name="T44" fmla="*/ 0 w 447"/>
                  <a:gd name="T45" fmla="*/ 0 h 118"/>
                  <a:gd name="T46" fmla="*/ 0 w 447"/>
                  <a:gd name="T47" fmla="*/ 0 h 118"/>
                  <a:gd name="T48" fmla="*/ 0 w 447"/>
                  <a:gd name="T49" fmla="*/ 0 h 118"/>
                  <a:gd name="T50" fmla="*/ 0 w 447"/>
                  <a:gd name="T51" fmla="*/ 0 h 118"/>
                  <a:gd name="T52" fmla="*/ 0 w 447"/>
                  <a:gd name="T53" fmla="*/ 0 h 11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47"/>
                  <a:gd name="T82" fmla="*/ 0 h 118"/>
                  <a:gd name="T83" fmla="*/ 447 w 447"/>
                  <a:gd name="T84" fmla="*/ 118 h 11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47" h="118">
                    <a:moveTo>
                      <a:pt x="6" y="98"/>
                    </a:moveTo>
                    <a:lnTo>
                      <a:pt x="64" y="56"/>
                    </a:lnTo>
                    <a:lnTo>
                      <a:pt x="114" y="72"/>
                    </a:lnTo>
                    <a:lnTo>
                      <a:pt x="137" y="40"/>
                    </a:lnTo>
                    <a:lnTo>
                      <a:pt x="193" y="25"/>
                    </a:lnTo>
                    <a:lnTo>
                      <a:pt x="250" y="47"/>
                    </a:lnTo>
                    <a:lnTo>
                      <a:pt x="269" y="25"/>
                    </a:lnTo>
                    <a:lnTo>
                      <a:pt x="314" y="25"/>
                    </a:lnTo>
                    <a:lnTo>
                      <a:pt x="336" y="0"/>
                    </a:lnTo>
                    <a:lnTo>
                      <a:pt x="377" y="7"/>
                    </a:lnTo>
                    <a:lnTo>
                      <a:pt x="392" y="29"/>
                    </a:lnTo>
                    <a:lnTo>
                      <a:pt x="406" y="0"/>
                    </a:lnTo>
                    <a:lnTo>
                      <a:pt x="447" y="17"/>
                    </a:lnTo>
                    <a:lnTo>
                      <a:pt x="422" y="20"/>
                    </a:lnTo>
                    <a:lnTo>
                      <a:pt x="392" y="43"/>
                    </a:lnTo>
                    <a:lnTo>
                      <a:pt x="361" y="25"/>
                    </a:lnTo>
                    <a:lnTo>
                      <a:pt x="336" y="29"/>
                    </a:lnTo>
                    <a:lnTo>
                      <a:pt x="316" y="47"/>
                    </a:lnTo>
                    <a:lnTo>
                      <a:pt x="273" y="40"/>
                    </a:lnTo>
                    <a:lnTo>
                      <a:pt x="250" y="56"/>
                    </a:lnTo>
                    <a:lnTo>
                      <a:pt x="193" y="47"/>
                    </a:lnTo>
                    <a:lnTo>
                      <a:pt x="147" y="47"/>
                    </a:lnTo>
                    <a:lnTo>
                      <a:pt x="117" y="78"/>
                    </a:lnTo>
                    <a:lnTo>
                      <a:pt x="76" y="77"/>
                    </a:lnTo>
                    <a:lnTo>
                      <a:pt x="0" y="118"/>
                    </a:lnTo>
                    <a:lnTo>
                      <a:pt x="6" y="98"/>
                    </a:lnTo>
                    <a:close/>
                  </a:path>
                </a:pathLst>
              </a:custGeom>
              <a:solidFill>
                <a:srgbClr val="000000"/>
              </a:solidFill>
              <a:ln w="9525">
                <a:noFill/>
                <a:round/>
                <a:headEnd/>
                <a:tailEnd/>
              </a:ln>
            </p:spPr>
            <p:txBody>
              <a:bodyPr/>
              <a:lstStyle/>
              <a:p>
                <a:endParaRPr lang="fr-FR"/>
              </a:p>
            </p:txBody>
          </p:sp>
          <p:sp>
            <p:nvSpPr>
              <p:cNvPr id="10311" name="Freeform 1071"/>
              <p:cNvSpPr>
                <a:spLocks/>
              </p:cNvSpPr>
              <p:nvPr/>
            </p:nvSpPr>
            <p:spPr bwMode="auto">
              <a:xfrm>
                <a:off x="4309" y="1586"/>
                <a:ext cx="290" cy="285"/>
              </a:xfrm>
              <a:custGeom>
                <a:avLst/>
                <a:gdLst>
                  <a:gd name="T0" fmla="*/ 0 w 870"/>
                  <a:gd name="T1" fmla="*/ 0 h 856"/>
                  <a:gd name="T2" fmla="*/ 0 w 870"/>
                  <a:gd name="T3" fmla="*/ 0 h 856"/>
                  <a:gd name="T4" fmla="*/ 0 w 870"/>
                  <a:gd name="T5" fmla="*/ 0 h 856"/>
                  <a:gd name="T6" fmla="*/ 0 w 870"/>
                  <a:gd name="T7" fmla="*/ 0 h 856"/>
                  <a:gd name="T8" fmla="*/ 0 w 870"/>
                  <a:gd name="T9" fmla="*/ 0 h 856"/>
                  <a:gd name="T10" fmla="*/ 0 w 870"/>
                  <a:gd name="T11" fmla="*/ 0 h 856"/>
                  <a:gd name="T12" fmla="*/ 0 w 870"/>
                  <a:gd name="T13" fmla="*/ 0 h 856"/>
                  <a:gd name="T14" fmla="*/ 0 w 870"/>
                  <a:gd name="T15" fmla="*/ 0 h 856"/>
                  <a:gd name="T16" fmla="*/ 0 w 870"/>
                  <a:gd name="T17" fmla="*/ 0 h 856"/>
                  <a:gd name="T18" fmla="*/ 0 w 870"/>
                  <a:gd name="T19" fmla="*/ 0 h 856"/>
                  <a:gd name="T20" fmla="*/ 0 w 870"/>
                  <a:gd name="T21" fmla="*/ 0 h 856"/>
                  <a:gd name="T22" fmla="*/ 0 w 870"/>
                  <a:gd name="T23" fmla="*/ 0 h 856"/>
                  <a:gd name="T24" fmla="*/ 0 w 870"/>
                  <a:gd name="T25" fmla="*/ 0 h 856"/>
                  <a:gd name="T26" fmla="*/ 0 w 870"/>
                  <a:gd name="T27" fmla="*/ 0 h 856"/>
                  <a:gd name="T28" fmla="*/ 0 w 870"/>
                  <a:gd name="T29" fmla="*/ 0 h 856"/>
                  <a:gd name="T30" fmla="*/ 0 w 870"/>
                  <a:gd name="T31" fmla="*/ 0 h 856"/>
                  <a:gd name="T32" fmla="*/ 0 w 870"/>
                  <a:gd name="T33" fmla="*/ 0 h 856"/>
                  <a:gd name="T34" fmla="*/ 0 w 870"/>
                  <a:gd name="T35" fmla="*/ 0 h 856"/>
                  <a:gd name="T36" fmla="*/ 0 w 870"/>
                  <a:gd name="T37" fmla="*/ 0 h 856"/>
                  <a:gd name="T38" fmla="*/ 0 w 870"/>
                  <a:gd name="T39" fmla="*/ 0 h 856"/>
                  <a:gd name="T40" fmla="*/ 0 w 870"/>
                  <a:gd name="T41" fmla="*/ 0 h 856"/>
                  <a:gd name="T42" fmla="*/ 0 w 870"/>
                  <a:gd name="T43" fmla="*/ 0 h 856"/>
                  <a:gd name="T44" fmla="*/ 0 w 870"/>
                  <a:gd name="T45" fmla="*/ 0 h 856"/>
                  <a:gd name="T46" fmla="*/ 0 w 870"/>
                  <a:gd name="T47" fmla="*/ 0 h 856"/>
                  <a:gd name="T48" fmla="*/ 0 w 870"/>
                  <a:gd name="T49" fmla="*/ 0 h 856"/>
                  <a:gd name="T50" fmla="*/ 0 w 870"/>
                  <a:gd name="T51" fmla="*/ 0 h 856"/>
                  <a:gd name="T52" fmla="*/ 0 w 870"/>
                  <a:gd name="T53" fmla="*/ 0 h 856"/>
                  <a:gd name="T54" fmla="*/ 0 w 870"/>
                  <a:gd name="T55" fmla="*/ 0 h 856"/>
                  <a:gd name="T56" fmla="*/ 0 w 870"/>
                  <a:gd name="T57" fmla="*/ 0 h 856"/>
                  <a:gd name="T58" fmla="*/ 0 w 870"/>
                  <a:gd name="T59" fmla="*/ 0 h 856"/>
                  <a:gd name="T60" fmla="*/ 0 w 870"/>
                  <a:gd name="T61" fmla="*/ 0 h 856"/>
                  <a:gd name="T62" fmla="*/ 0 w 870"/>
                  <a:gd name="T63" fmla="*/ 0 h 856"/>
                  <a:gd name="T64" fmla="*/ 0 w 870"/>
                  <a:gd name="T65" fmla="*/ 0 h 856"/>
                  <a:gd name="T66" fmla="*/ 0 w 870"/>
                  <a:gd name="T67" fmla="*/ 0 h 856"/>
                  <a:gd name="T68" fmla="*/ 0 w 870"/>
                  <a:gd name="T69" fmla="*/ 0 h 856"/>
                  <a:gd name="T70" fmla="*/ 0 w 870"/>
                  <a:gd name="T71" fmla="*/ 0 h 856"/>
                  <a:gd name="T72" fmla="*/ 0 w 870"/>
                  <a:gd name="T73" fmla="*/ 0 h 856"/>
                  <a:gd name="T74" fmla="*/ 0 w 870"/>
                  <a:gd name="T75" fmla="*/ 0 h 856"/>
                  <a:gd name="T76" fmla="*/ 0 w 870"/>
                  <a:gd name="T77" fmla="*/ 0 h 856"/>
                  <a:gd name="T78" fmla="*/ 0 w 870"/>
                  <a:gd name="T79" fmla="*/ 0 h 856"/>
                  <a:gd name="T80" fmla="*/ 0 w 870"/>
                  <a:gd name="T81" fmla="*/ 0 h 8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70"/>
                  <a:gd name="T124" fmla="*/ 0 h 856"/>
                  <a:gd name="T125" fmla="*/ 870 w 870"/>
                  <a:gd name="T126" fmla="*/ 856 h 8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70" h="856">
                    <a:moveTo>
                      <a:pt x="0" y="357"/>
                    </a:moveTo>
                    <a:lnTo>
                      <a:pt x="40" y="311"/>
                    </a:lnTo>
                    <a:lnTo>
                      <a:pt x="108" y="296"/>
                    </a:lnTo>
                    <a:lnTo>
                      <a:pt x="163" y="314"/>
                    </a:lnTo>
                    <a:lnTo>
                      <a:pt x="184" y="274"/>
                    </a:lnTo>
                    <a:lnTo>
                      <a:pt x="264" y="257"/>
                    </a:lnTo>
                    <a:lnTo>
                      <a:pt x="307" y="263"/>
                    </a:lnTo>
                    <a:lnTo>
                      <a:pt x="339" y="235"/>
                    </a:lnTo>
                    <a:lnTo>
                      <a:pt x="373" y="232"/>
                    </a:lnTo>
                    <a:lnTo>
                      <a:pt x="394" y="210"/>
                    </a:lnTo>
                    <a:lnTo>
                      <a:pt x="437" y="207"/>
                    </a:lnTo>
                    <a:lnTo>
                      <a:pt x="468" y="184"/>
                    </a:lnTo>
                    <a:lnTo>
                      <a:pt x="496" y="179"/>
                    </a:lnTo>
                    <a:lnTo>
                      <a:pt x="509" y="141"/>
                    </a:lnTo>
                    <a:lnTo>
                      <a:pt x="569" y="149"/>
                    </a:lnTo>
                    <a:lnTo>
                      <a:pt x="593" y="104"/>
                    </a:lnTo>
                    <a:lnTo>
                      <a:pt x="661" y="94"/>
                    </a:lnTo>
                    <a:lnTo>
                      <a:pt x="691" y="57"/>
                    </a:lnTo>
                    <a:lnTo>
                      <a:pt x="744" y="43"/>
                    </a:lnTo>
                    <a:lnTo>
                      <a:pt x="763" y="12"/>
                    </a:lnTo>
                    <a:lnTo>
                      <a:pt x="803" y="0"/>
                    </a:lnTo>
                    <a:lnTo>
                      <a:pt x="847" y="30"/>
                    </a:lnTo>
                    <a:lnTo>
                      <a:pt x="867" y="122"/>
                    </a:lnTo>
                    <a:lnTo>
                      <a:pt x="870" y="220"/>
                    </a:lnTo>
                    <a:lnTo>
                      <a:pt x="847" y="299"/>
                    </a:lnTo>
                    <a:lnTo>
                      <a:pt x="806" y="379"/>
                    </a:lnTo>
                    <a:lnTo>
                      <a:pt x="756" y="438"/>
                    </a:lnTo>
                    <a:lnTo>
                      <a:pt x="708" y="461"/>
                    </a:lnTo>
                    <a:lnTo>
                      <a:pt x="651" y="544"/>
                    </a:lnTo>
                    <a:lnTo>
                      <a:pt x="579" y="572"/>
                    </a:lnTo>
                    <a:lnTo>
                      <a:pt x="539" y="630"/>
                    </a:lnTo>
                    <a:lnTo>
                      <a:pt x="469" y="658"/>
                    </a:lnTo>
                    <a:lnTo>
                      <a:pt x="428" y="703"/>
                    </a:lnTo>
                    <a:lnTo>
                      <a:pt x="343" y="724"/>
                    </a:lnTo>
                    <a:lnTo>
                      <a:pt x="288" y="764"/>
                    </a:lnTo>
                    <a:lnTo>
                      <a:pt x="260" y="774"/>
                    </a:lnTo>
                    <a:lnTo>
                      <a:pt x="221" y="804"/>
                    </a:lnTo>
                    <a:lnTo>
                      <a:pt x="156" y="804"/>
                    </a:lnTo>
                    <a:lnTo>
                      <a:pt x="120" y="838"/>
                    </a:lnTo>
                    <a:lnTo>
                      <a:pt x="19" y="856"/>
                    </a:lnTo>
                    <a:lnTo>
                      <a:pt x="80" y="831"/>
                    </a:lnTo>
                    <a:lnTo>
                      <a:pt x="108" y="773"/>
                    </a:lnTo>
                    <a:lnTo>
                      <a:pt x="120" y="807"/>
                    </a:lnTo>
                    <a:lnTo>
                      <a:pt x="156" y="773"/>
                    </a:lnTo>
                    <a:lnTo>
                      <a:pt x="177" y="715"/>
                    </a:lnTo>
                    <a:lnTo>
                      <a:pt x="181" y="779"/>
                    </a:lnTo>
                    <a:lnTo>
                      <a:pt x="254" y="752"/>
                    </a:lnTo>
                    <a:lnTo>
                      <a:pt x="297" y="700"/>
                    </a:lnTo>
                    <a:lnTo>
                      <a:pt x="310" y="724"/>
                    </a:lnTo>
                    <a:lnTo>
                      <a:pt x="365" y="690"/>
                    </a:lnTo>
                    <a:lnTo>
                      <a:pt x="416" y="681"/>
                    </a:lnTo>
                    <a:lnTo>
                      <a:pt x="468" y="623"/>
                    </a:lnTo>
                    <a:lnTo>
                      <a:pt x="487" y="635"/>
                    </a:lnTo>
                    <a:lnTo>
                      <a:pt x="506" y="600"/>
                    </a:lnTo>
                    <a:lnTo>
                      <a:pt x="524" y="620"/>
                    </a:lnTo>
                    <a:lnTo>
                      <a:pt x="564" y="557"/>
                    </a:lnTo>
                    <a:lnTo>
                      <a:pt x="640" y="522"/>
                    </a:lnTo>
                    <a:lnTo>
                      <a:pt x="686" y="467"/>
                    </a:lnTo>
                    <a:lnTo>
                      <a:pt x="744" y="424"/>
                    </a:lnTo>
                    <a:lnTo>
                      <a:pt x="778" y="361"/>
                    </a:lnTo>
                    <a:lnTo>
                      <a:pt x="835" y="296"/>
                    </a:lnTo>
                    <a:lnTo>
                      <a:pt x="852" y="210"/>
                    </a:lnTo>
                    <a:lnTo>
                      <a:pt x="835" y="130"/>
                    </a:lnTo>
                    <a:lnTo>
                      <a:pt x="835" y="69"/>
                    </a:lnTo>
                    <a:lnTo>
                      <a:pt x="795" y="43"/>
                    </a:lnTo>
                    <a:lnTo>
                      <a:pt x="734" y="76"/>
                    </a:lnTo>
                    <a:lnTo>
                      <a:pt x="665" y="113"/>
                    </a:lnTo>
                    <a:lnTo>
                      <a:pt x="596" y="119"/>
                    </a:lnTo>
                    <a:lnTo>
                      <a:pt x="570" y="173"/>
                    </a:lnTo>
                    <a:lnTo>
                      <a:pt x="509" y="195"/>
                    </a:lnTo>
                    <a:lnTo>
                      <a:pt x="462" y="207"/>
                    </a:lnTo>
                    <a:lnTo>
                      <a:pt x="416" y="235"/>
                    </a:lnTo>
                    <a:lnTo>
                      <a:pt x="386" y="236"/>
                    </a:lnTo>
                    <a:lnTo>
                      <a:pt x="343" y="257"/>
                    </a:lnTo>
                    <a:lnTo>
                      <a:pt x="304" y="277"/>
                    </a:lnTo>
                    <a:lnTo>
                      <a:pt x="247" y="288"/>
                    </a:lnTo>
                    <a:lnTo>
                      <a:pt x="212" y="277"/>
                    </a:lnTo>
                    <a:lnTo>
                      <a:pt x="165" y="321"/>
                    </a:lnTo>
                    <a:lnTo>
                      <a:pt x="98" y="324"/>
                    </a:lnTo>
                    <a:lnTo>
                      <a:pt x="70" y="318"/>
                    </a:lnTo>
                    <a:lnTo>
                      <a:pt x="33" y="332"/>
                    </a:lnTo>
                    <a:lnTo>
                      <a:pt x="0" y="357"/>
                    </a:lnTo>
                    <a:close/>
                  </a:path>
                </a:pathLst>
              </a:custGeom>
              <a:solidFill>
                <a:srgbClr val="000000"/>
              </a:solidFill>
              <a:ln w="9525">
                <a:noFill/>
                <a:round/>
                <a:headEnd/>
                <a:tailEnd/>
              </a:ln>
            </p:spPr>
            <p:txBody>
              <a:bodyPr/>
              <a:lstStyle/>
              <a:p>
                <a:endParaRPr lang="fr-FR"/>
              </a:p>
            </p:txBody>
          </p:sp>
          <p:sp>
            <p:nvSpPr>
              <p:cNvPr id="10312" name="Freeform 1072"/>
              <p:cNvSpPr>
                <a:spLocks/>
              </p:cNvSpPr>
              <p:nvPr/>
            </p:nvSpPr>
            <p:spPr bwMode="auto">
              <a:xfrm>
                <a:off x="4102" y="1860"/>
                <a:ext cx="205" cy="70"/>
              </a:xfrm>
              <a:custGeom>
                <a:avLst/>
                <a:gdLst>
                  <a:gd name="T0" fmla="*/ 0 w 615"/>
                  <a:gd name="T1" fmla="*/ 0 h 212"/>
                  <a:gd name="T2" fmla="*/ 0 w 615"/>
                  <a:gd name="T3" fmla="*/ 0 h 212"/>
                  <a:gd name="T4" fmla="*/ 0 w 615"/>
                  <a:gd name="T5" fmla="*/ 0 h 212"/>
                  <a:gd name="T6" fmla="*/ 0 w 615"/>
                  <a:gd name="T7" fmla="*/ 0 h 212"/>
                  <a:gd name="T8" fmla="*/ 0 w 615"/>
                  <a:gd name="T9" fmla="*/ 0 h 212"/>
                  <a:gd name="T10" fmla="*/ 0 w 615"/>
                  <a:gd name="T11" fmla="*/ 0 h 212"/>
                  <a:gd name="T12" fmla="*/ 0 w 615"/>
                  <a:gd name="T13" fmla="*/ 0 h 212"/>
                  <a:gd name="T14" fmla="*/ 0 w 615"/>
                  <a:gd name="T15" fmla="*/ 0 h 212"/>
                  <a:gd name="T16" fmla="*/ 0 w 615"/>
                  <a:gd name="T17" fmla="*/ 0 h 212"/>
                  <a:gd name="T18" fmla="*/ 0 w 615"/>
                  <a:gd name="T19" fmla="*/ 0 h 212"/>
                  <a:gd name="T20" fmla="*/ 0 w 615"/>
                  <a:gd name="T21" fmla="*/ 0 h 212"/>
                  <a:gd name="T22" fmla="*/ 0 w 615"/>
                  <a:gd name="T23" fmla="*/ 0 h 212"/>
                  <a:gd name="T24" fmla="*/ 0 w 615"/>
                  <a:gd name="T25" fmla="*/ 0 h 212"/>
                  <a:gd name="T26" fmla="*/ 0 w 615"/>
                  <a:gd name="T27" fmla="*/ 0 h 212"/>
                  <a:gd name="T28" fmla="*/ 0 w 615"/>
                  <a:gd name="T29" fmla="*/ 0 h 212"/>
                  <a:gd name="T30" fmla="*/ 0 w 615"/>
                  <a:gd name="T31" fmla="*/ 0 h 212"/>
                  <a:gd name="T32" fmla="*/ 0 w 615"/>
                  <a:gd name="T33" fmla="*/ 0 h 212"/>
                  <a:gd name="T34" fmla="*/ 0 w 615"/>
                  <a:gd name="T35" fmla="*/ 0 h 212"/>
                  <a:gd name="T36" fmla="*/ 0 w 615"/>
                  <a:gd name="T37" fmla="*/ 0 h 212"/>
                  <a:gd name="T38" fmla="*/ 0 w 615"/>
                  <a:gd name="T39" fmla="*/ 0 h 212"/>
                  <a:gd name="T40" fmla="*/ 0 w 615"/>
                  <a:gd name="T41" fmla="*/ 0 h 212"/>
                  <a:gd name="T42" fmla="*/ 0 w 615"/>
                  <a:gd name="T43" fmla="*/ 0 h 212"/>
                  <a:gd name="T44" fmla="*/ 0 w 615"/>
                  <a:gd name="T45" fmla="*/ 0 h 212"/>
                  <a:gd name="T46" fmla="*/ 0 w 615"/>
                  <a:gd name="T47" fmla="*/ 0 h 212"/>
                  <a:gd name="T48" fmla="*/ 0 w 615"/>
                  <a:gd name="T49" fmla="*/ 0 h 212"/>
                  <a:gd name="T50" fmla="*/ 0 w 615"/>
                  <a:gd name="T51" fmla="*/ 0 h 212"/>
                  <a:gd name="T52" fmla="*/ 0 w 615"/>
                  <a:gd name="T53" fmla="*/ 0 h 212"/>
                  <a:gd name="T54" fmla="*/ 0 w 615"/>
                  <a:gd name="T55" fmla="*/ 0 h 212"/>
                  <a:gd name="T56" fmla="*/ 0 w 615"/>
                  <a:gd name="T57" fmla="*/ 0 h 212"/>
                  <a:gd name="T58" fmla="*/ 0 w 615"/>
                  <a:gd name="T59" fmla="*/ 0 h 212"/>
                  <a:gd name="T60" fmla="*/ 0 w 615"/>
                  <a:gd name="T61" fmla="*/ 0 h 212"/>
                  <a:gd name="T62" fmla="*/ 0 w 615"/>
                  <a:gd name="T63" fmla="*/ 0 h 212"/>
                  <a:gd name="T64" fmla="*/ 0 w 615"/>
                  <a:gd name="T65" fmla="*/ 0 h 212"/>
                  <a:gd name="T66" fmla="*/ 0 w 615"/>
                  <a:gd name="T67" fmla="*/ 0 h 212"/>
                  <a:gd name="T68" fmla="*/ 0 w 615"/>
                  <a:gd name="T69" fmla="*/ 0 h 212"/>
                  <a:gd name="T70" fmla="*/ 0 w 615"/>
                  <a:gd name="T71" fmla="*/ 0 h 212"/>
                  <a:gd name="T72" fmla="*/ 0 w 615"/>
                  <a:gd name="T73" fmla="*/ 0 h 212"/>
                  <a:gd name="T74" fmla="*/ 0 w 615"/>
                  <a:gd name="T75" fmla="*/ 0 h 212"/>
                  <a:gd name="T76" fmla="*/ 0 w 615"/>
                  <a:gd name="T77" fmla="*/ 0 h 212"/>
                  <a:gd name="T78" fmla="*/ 0 w 615"/>
                  <a:gd name="T79" fmla="*/ 0 h 212"/>
                  <a:gd name="T80" fmla="*/ 0 w 615"/>
                  <a:gd name="T81" fmla="*/ 0 h 212"/>
                  <a:gd name="T82" fmla="*/ 0 w 615"/>
                  <a:gd name="T83" fmla="*/ 0 h 212"/>
                  <a:gd name="T84" fmla="*/ 0 w 615"/>
                  <a:gd name="T85" fmla="*/ 0 h 212"/>
                  <a:gd name="T86" fmla="*/ 0 w 615"/>
                  <a:gd name="T87" fmla="*/ 0 h 212"/>
                  <a:gd name="T88" fmla="*/ 0 w 615"/>
                  <a:gd name="T89" fmla="*/ 0 h 2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15"/>
                  <a:gd name="T136" fmla="*/ 0 h 212"/>
                  <a:gd name="T137" fmla="*/ 615 w 615"/>
                  <a:gd name="T138" fmla="*/ 212 h 2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15" h="212">
                    <a:moveTo>
                      <a:pt x="11" y="209"/>
                    </a:moveTo>
                    <a:lnTo>
                      <a:pt x="64" y="212"/>
                    </a:lnTo>
                    <a:lnTo>
                      <a:pt x="112" y="184"/>
                    </a:lnTo>
                    <a:lnTo>
                      <a:pt x="147" y="190"/>
                    </a:lnTo>
                    <a:lnTo>
                      <a:pt x="172" y="172"/>
                    </a:lnTo>
                    <a:lnTo>
                      <a:pt x="216" y="168"/>
                    </a:lnTo>
                    <a:lnTo>
                      <a:pt x="257" y="157"/>
                    </a:lnTo>
                    <a:lnTo>
                      <a:pt x="278" y="141"/>
                    </a:lnTo>
                    <a:lnTo>
                      <a:pt x="311" y="136"/>
                    </a:lnTo>
                    <a:lnTo>
                      <a:pt x="352" y="114"/>
                    </a:lnTo>
                    <a:lnTo>
                      <a:pt x="394" y="129"/>
                    </a:lnTo>
                    <a:lnTo>
                      <a:pt x="425" y="111"/>
                    </a:lnTo>
                    <a:lnTo>
                      <a:pt x="447" y="81"/>
                    </a:lnTo>
                    <a:lnTo>
                      <a:pt x="492" y="86"/>
                    </a:lnTo>
                    <a:lnTo>
                      <a:pt x="526" y="56"/>
                    </a:lnTo>
                    <a:lnTo>
                      <a:pt x="575" y="56"/>
                    </a:lnTo>
                    <a:lnTo>
                      <a:pt x="615" y="40"/>
                    </a:lnTo>
                    <a:lnTo>
                      <a:pt x="570" y="43"/>
                    </a:lnTo>
                    <a:lnTo>
                      <a:pt x="533" y="40"/>
                    </a:lnTo>
                    <a:lnTo>
                      <a:pt x="492" y="67"/>
                    </a:lnTo>
                    <a:lnTo>
                      <a:pt x="447" y="67"/>
                    </a:lnTo>
                    <a:lnTo>
                      <a:pt x="447" y="15"/>
                    </a:lnTo>
                    <a:lnTo>
                      <a:pt x="422" y="81"/>
                    </a:lnTo>
                    <a:lnTo>
                      <a:pt x="358" y="92"/>
                    </a:lnTo>
                    <a:lnTo>
                      <a:pt x="364" y="61"/>
                    </a:lnTo>
                    <a:lnTo>
                      <a:pt x="346" y="40"/>
                    </a:lnTo>
                    <a:lnTo>
                      <a:pt x="314" y="16"/>
                    </a:lnTo>
                    <a:lnTo>
                      <a:pt x="303" y="0"/>
                    </a:lnTo>
                    <a:lnTo>
                      <a:pt x="311" y="25"/>
                    </a:lnTo>
                    <a:lnTo>
                      <a:pt x="346" y="56"/>
                    </a:lnTo>
                    <a:lnTo>
                      <a:pt x="321" y="86"/>
                    </a:lnTo>
                    <a:lnTo>
                      <a:pt x="314" y="107"/>
                    </a:lnTo>
                    <a:lnTo>
                      <a:pt x="288" y="117"/>
                    </a:lnTo>
                    <a:lnTo>
                      <a:pt x="281" y="64"/>
                    </a:lnTo>
                    <a:lnTo>
                      <a:pt x="260" y="114"/>
                    </a:lnTo>
                    <a:lnTo>
                      <a:pt x="223" y="141"/>
                    </a:lnTo>
                    <a:lnTo>
                      <a:pt x="199" y="151"/>
                    </a:lnTo>
                    <a:lnTo>
                      <a:pt x="159" y="162"/>
                    </a:lnTo>
                    <a:lnTo>
                      <a:pt x="156" y="141"/>
                    </a:lnTo>
                    <a:lnTo>
                      <a:pt x="125" y="168"/>
                    </a:lnTo>
                    <a:lnTo>
                      <a:pt x="92" y="157"/>
                    </a:lnTo>
                    <a:lnTo>
                      <a:pt x="58" y="193"/>
                    </a:lnTo>
                    <a:lnTo>
                      <a:pt x="0" y="193"/>
                    </a:lnTo>
                    <a:lnTo>
                      <a:pt x="11" y="209"/>
                    </a:lnTo>
                    <a:close/>
                  </a:path>
                </a:pathLst>
              </a:custGeom>
              <a:solidFill>
                <a:srgbClr val="000000"/>
              </a:solidFill>
              <a:ln w="9525">
                <a:noFill/>
                <a:round/>
                <a:headEnd/>
                <a:tailEnd/>
              </a:ln>
            </p:spPr>
            <p:txBody>
              <a:bodyPr/>
              <a:lstStyle/>
              <a:p>
                <a:endParaRPr lang="fr-FR"/>
              </a:p>
            </p:txBody>
          </p:sp>
        </p:grpSp>
        <p:pic>
          <p:nvPicPr>
            <p:cNvPr id="10264" name="Picture 27" descr="Gold_Key.bmp"/>
            <p:cNvPicPr>
              <a:picLocks noChangeAspect="1"/>
            </p:cNvPicPr>
            <p:nvPr/>
          </p:nvPicPr>
          <p:blipFill>
            <a:blip r:embed="rId3"/>
            <a:srcRect/>
            <a:stretch>
              <a:fillRect/>
            </a:stretch>
          </p:blipFill>
          <p:spPr bwMode="auto">
            <a:xfrm>
              <a:off x="2217737" y="1673022"/>
              <a:ext cx="176213" cy="285750"/>
            </a:xfrm>
            <a:prstGeom prst="rect">
              <a:avLst/>
            </a:prstGeom>
            <a:noFill/>
            <a:ln w="9525">
              <a:noFill/>
              <a:miter lim="800000"/>
              <a:headEnd/>
              <a:tailEnd/>
            </a:ln>
          </p:spPr>
        </p:pic>
        <p:pic>
          <p:nvPicPr>
            <p:cNvPr id="10265" name="Picture 27" descr="Gold_Key.bmp"/>
            <p:cNvPicPr>
              <a:picLocks noChangeAspect="1"/>
            </p:cNvPicPr>
            <p:nvPr/>
          </p:nvPicPr>
          <p:blipFill>
            <a:blip r:embed="rId3"/>
            <a:srcRect/>
            <a:stretch>
              <a:fillRect/>
            </a:stretch>
          </p:blipFill>
          <p:spPr bwMode="auto">
            <a:xfrm>
              <a:off x="3005138" y="4267150"/>
              <a:ext cx="176213" cy="285750"/>
            </a:xfrm>
            <a:prstGeom prst="rect">
              <a:avLst/>
            </a:prstGeom>
            <a:noFill/>
            <a:ln w="9525">
              <a:noFill/>
              <a:miter lim="800000"/>
              <a:headEnd/>
              <a:tailEnd/>
            </a:ln>
          </p:spPr>
        </p:pic>
        <p:pic>
          <p:nvPicPr>
            <p:cNvPr id="10266" name="Picture 27" descr="Gold_Key.bmp"/>
            <p:cNvPicPr>
              <a:picLocks noChangeAspect="1"/>
            </p:cNvPicPr>
            <p:nvPr/>
          </p:nvPicPr>
          <p:blipFill>
            <a:blip r:embed="rId3"/>
            <a:srcRect/>
            <a:stretch>
              <a:fillRect/>
            </a:stretch>
          </p:blipFill>
          <p:spPr bwMode="auto">
            <a:xfrm>
              <a:off x="3429794" y="3602830"/>
              <a:ext cx="176213" cy="285750"/>
            </a:xfrm>
            <a:prstGeom prst="rect">
              <a:avLst/>
            </a:prstGeom>
            <a:noFill/>
            <a:ln w="9525">
              <a:noFill/>
              <a:miter lim="800000"/>
              <a:headEnd/>
              <a:tailEnd/>
            </a:ln>
          </p:spPr>
        </p:pic>
        <p:pic>
          <p:nvPicPr>
            <p:cNvPr id="10267" name="Picture 27" descr="Gold_Key.bmp"/>
            <p:cNvPicPr>
              <a:picLocks noChangeAspect="1"/>
            </p:cNvPicPr>
            <p:nvPr/>
          </p:nvPicPr>
          <p:blipFill>
            <a:blip r:embed="rId3"/>
            <a:srcRect/>
            <a:stretch>
              <a:fillRect/>
            </a:stretch>
          </p:blipFill>
          <p:spPr bwMode="auto">
            <a:xfrm>
              <a:off x="3233738" y="2715769"/>
              <a:ext cx="176213" cy="285750"/>
            </a:xfrm>
            <a:prstGeom prst="rect">
              <a:avLst/>
            </a:prstGeom>
            <a:noFill/>
            <a:ln w="9525">
              <a:noFill/>
              <a:miter lim="800000"/>
              <a:headEnd/>
              <a:tailEnd/>
            </a:ln>
          </p:spPr>
        </p:pic>
        <p:pic>
          <p:nvPicPr>
            <p:cNvPr id="10268" name="Picture 29" descr="doorLock.jpg"/>
            <p:cNvPicPr>
              <a:picLocks noChangeAspect="1"/>
            </p:cNvPicPr>
            <p:nvPr/>
          </p:nvPicPr>
          <p:blipFill>
            <a:blip r:embed="rId4"/>
            <a:srcRect/>
            <a:stretch>
              <a:fillRect/>
            </a:stretch>
          </p:blipFill>
          <p:spPr bwMode="auto">
            <a:xfrm>
              <a:off x="3929063" y="2857500"/>
              <a:ext cx="500062" cy="344488"/>
            </a:xfrm>
            <a:prstGeom prst="rect">
              <a:avLst/>
            </a:prstGeom>
            <a:noFill/>
            <a:ln w="9525">
              <a:solidFill>
                <a:schemeClr val="tx1"/>
              </a:solidFill>
              <a:miter lim="800000"/>
              <a:headEnd/>
              <a:tailEnd/>
            </a:ln>
          </p:spPr>
        </p:pic>
        <p:pic>
          <p:nvPicPr>
            <p:cNvPr id="10269" name="Picture 29" descr="doorLock.jpg"/>
            <p:cNvPicPr>
              <a:picLocks noChangeAspect="1"/>
            </p:cNvPicPr>
            <p:nvPr/>
          </p:nvPicPr>
          <p:blipFill>
            <a:blip r:embed="rId4"/>
            <a:srcRect/>
            <a:stretch>
              <a:fillRect/>
            </a:stretch>
          </p:blipFill>
          <p:spPr bwMode="auto">
            <a:xfrm>
              <a:off x="3915409" y="3790949"/>
              <a:ext cx="500062" cy="344488"/>
            </a:xfrm>
            <a:prstGeom prst="rect">
              <a:avLst/>
            </a:prstGeom>
            <a:noFill/>
            <a:ln w="9525">
              <a:solidFill>
                <a:schemeClr val="tx1"/>
              </a:solidFill>
              <a:miter lim="800000"/>
              <a:headEnd/>
              <a:tailEnd/>
            </a:ln>
          </p:spPr>
        </p:pic>
        <p:pic>
          <p:nvPicPr>
            <p:cNvPr id="10270" name="Picture 27" descr="Gold_Key.bmp"/>
            <p:cNvPicPr>
              <a:picLocks noChangeAspect="1"/>
            </p:cNvPicPr>
            <p:nvPr/>
          </p:nvPicPr>
          <p:blipFill>
            <a:blip r:embed="rId3"/>
            <a:srcRect/>
            <a:stretch>
              <a:fillRect/>
            </a:stretch>
          </p:blipFill>
          <p:spPr bwMode="auto">
            <a:xfrm>
              <a:off x="2370137" y="1825422"/>
              <a:ext cx="176213" cy="285750"/>
            </a:xfrm>
            <a:prstGeom prst="rect">
              <a:avLst/>
            </a:prstGeom>
            <a:noFill/>
            <a:ln w="9525">
              <a:noFill/>
              <a:miter lim="800000"/>
              <a:headEnd/>
              <a:tailEnd/>
            </a:ln>
          </p:spPr>
        </p:pic>
        <p:pic>
          <p:nvPicPr>
            <p:cNvPr id="10271" name="Picture 27" descr="Gold_Key.bmp"/>
            <p:cNvPicPr>
              <a:picLocks noChangeAspect="1"/>
            </p:cNvPicPr>
            <p:nvPr/>
          </p:nvPicPr>
          <p:blipFill>
            <a:blip r:embed="rId3"/>
            <a:srcRect/>
            <a:stretch>
              <a:fillRect/>
            </a:stretch>
          </p:blipFill>
          <p:spPr bwMode="auto">
            <a:xfrm>
              <a:off x="3675707" y="2852936"/>
              <a:ext cx="176213" cy="285750"/>
            </a:xfrm>
            <a:prstGeom prst="rect">
              <a:avLst/>
            </a:prstGeom>
            <a:noFill/>
            <a:ln w="9525">
              <a:noFill/>
              <a:miter lim="800000"/>
              <a:headEnd/>
              <a:tailEnd/>
            </a:ln>
          </p:spPr>
        </p:pic>
        <p:pic>
          <p:nvPicPr>
            <p:cNvPr id="10272" name="Picture 27" descr="Gold_Key.bmp"/>
            <p:cNvPicPr>
              <a:picLocks noChangeAspect="1"/>
            </p:cNvPicPr>
            <p:nvPr/>
          </p:nvPicPr>
          <p:blipFill>
            <a:blip r:embed="rId3"/>
            <a:srcRect/>
            <a:stretch>
              <a:fillRect/>
            </a:stretch>
          </p:blipFill>
          <p:spPr bwMode="auto">
            <a:xfrm>
              <a:off x="3675707" y="3804239"/>
              <a:ext cx="176213" cy="285750"/>
            </a:xfrm>
            <a:prstGeom prst="rect">
              <a:avLst/>
            </a:prstGeom>
            <a:noFill/>
            <a:ln w="9525">
              <a:noFill/>
              <a:miter lim="800000"/>
              <a:headEnd/>
              <a:tailEnd/>
            </a:ln>
          </p:spPr>
        </p:pic>
        <p:grpSp>
          <p:nvGrpSpPr>
            <p:cNvPr id="10273" name="Group 69"/>
            <p:cNvGrpSpPr>
              <a:grpSpLocks/>
            </p:cNvGrpSpPr>
            <p:nvPr/>
          </p:nvGrpSpPr>
          <p:grpSpPr bwMode="auto">
            <a:xfrm>
              <a:off x="5655981" y="2431035"/>
              <a:ext cx="953747" cy="820958"/>
              <a:chOff x="6588125" y="2492375"/>
              <a:chExt cx="1368425" cy="1368425"/>
            </a:xfrm>
          </p:grpSpPr>
          <p:sp>
            <p:nvSpPr>
              <p:cNvPr id="10274" name="Oval 22"/>
              <p:cNvSpPr>
                <a:spLocks noChangeArrowheads="1"/>
              </p:cNvSpPr>
              <p:nvPr/>
            </p:nvSpPr>
            <p:spPr bwMode="auto">
              <a:xfrm>
                <a:off x="6588125" y="2492375"/>
                <a:ext cx="1368425" cy="1368425"/>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10275" name="AutoShape 23"/>
              <p:cNvSpPr>
                <a:spLocks noChangeArrowheads="1"/>
              </p:cNvSpPr>
              <p:nvPr/>
            </p:nvSpPr>
            <p:spPr bwMode="auto">
              <a:xfrm>
                <a:off x="7021513" y="2879725"/>
                <a:ext cx="144462" cy="144463"/>
              </a:xfrm>
              <a:prstGeom prst="flowChartConnector">
                <a:avLst/>
              </a:prstGeom>
              <a:solidFill>
                <a:schemeClr val="accent1"/>
              </a:solidFill>
              <a:ln w="9525">
                <a:solidFill>
                  <a:schemeClr val="tx1"/>
                </a:solidFill>
                <a:round/>
                <a:headEnd/>
                <a:tailEnd/>
              </a:ln>
            </p:spPr>
            <p:txBody>
              <a:bodyPr wrap="none" anchor="ctr"/>
              <a:lstStyle/>
              <a:p>
                <a:endParaRPr lang="en-US"/>
              </a:p>
            </p:txBody>
          </p:sp>
          <p:sp>
            <p:nvSpPr>
              <p:cNvPr id="10276" name="AutoShape 24"/>
              <p:cNvSpPr>
                <a:spLocks noChangeArrowheads="1"/>
              </p:cNvSpPr>
              <p:nvPr/>
            </p:nvSpPr>
            <p:spPr bwMode="auto">
              <a:xfrm>
                <a:off x="7453313" y="2879725"/>
                <a:ext cx="144462" cy="144463"/>
              </a:xfrm>
              <a:prstGeom prst="flowChartConnector">
                <a:avLst/>
              </a:prstGeom>
              <a:solidFill>
                <a:schemeClr val="accent1"/>
              </a:solidFill>
              <a:ln w="9525">
                <a:solidFill>
                  <a:schemeClr val="tx1"/>
                </a:solidFill>
                <a:round/>
                <a:headEnd/>
                <a:tailEnd/>
              </a:ln>
            </p:spPr>
            <p:txBody>
              <a:bodyPr wrap="none" anchor="ctr"/>
              <a:lstStyle/>
              <a:p>
                <a:endParaRPr lang="en-US"/>
              </a:p>
            </p:txBody>
          </p:sp>
          <p:sp>
            <p:nvSpPr>
              <p:cNvPr id="10277" name="AutoShape 25"/>
              <p:cNvSpPr>
                <a:spLocks noChangeArrowheads="1"/>
              </p:cNvSpPr>
              <p:nvPr/>
            </p:nvSpPr>
            <p:spPr bwMode="auto">
              <a:xfrm rot="-5400000">
                <a:off x="7141369" y="3118644"/>
                <a:ext cx="261938" cy="647700"/>
              </a:xfrm>
              <a:prstGeom prst="moon">
                <a:avLst>
                  <a:gd name="adj" fmla="val 58042"/>
                </a:avLst>
              </a:prstGeom>
              <a:solidFill>
                <a:schemeClr val="accent1"/>
              </a:solidFill>
              <a:ln w="9525">
                <a:solidFill>
                  <a:schemeClr val="tx1"/>
                </a:solidFill>
                <a:miter lim="800000"/>
                <a:headEnd/>
                <a:tailEnd/>
              </a:ln>
            </p:spPr>
            <p:txBody>
              <a:bodyPr wrap="none" anchor="ctr"/>
              <a:lstStyle/>
              <a:p>
                <a:endParaRPr lang="en-US"/>
              </a:p>
            </p:txBody>
          </p:sp>
        </p:grpSp>
      </p:grpSp>
      <p:sp>
        <p:nvSpPr>
          <p:cNvPr id="10247" name="TextBox 4"/>
          <p:cNvSpPr txBox="1">
            <a:spLocks noChangeArrowheads="1"/>
          </p:cNvSpPr>
          <p:nvPr/>
        </p:nvSpPr>
        <p:spPr bwMode="auto">
          <a:xfrm>
            <a:off x="1973263" y="1568450"/>
            <a:ext cx="1098550" cy="368300"/>
          </a:xfrm>
          <a:prstGeom prst="rect">
            <a:avLst/>
          </a:prstGeom>
          <a:noFill/>
          <a:ln w="9525">
            <a:noFill/>
            <a:miter lim="800000"/>
            <a:headEnd/>
            <a:tailEnd/>
          </a:ln>
        </p:spPr>
        <p:txBody>
          <a:bodyPr wrap="none">
            <a:spAutoFit/>
          </a:bodyPr>
          <a:lstStyle/>
          <a:p>
            <a:pPr eaLnBrk="0" hangingPunct="0">
              <a:buSzPct val="100000"/>
            </a:pPr>
            <a:r>
              <a:rPr lang="da-DK">
                <a:sym typeface="Verdana" pitchFamily="34" charset="0"/>
              </a:rPr>
              <a:t>Insuline</a:t>
            </a:r>
          </a:p>
        </p:txBody>
      </p:sp>
      <p:sp>
        <p:nvSpPr>
          <p:cNvPr id="10248" name="TextBox 2"/>
          <p:cNvSpPr txBox="1">
            <a:spLocks noChangeArrowheads="1"/>
          </p:cNvSpPr>
          <p:nvPr/>
        </p:nvSpPr>
        <p:spPr bwMode="auto">
          <a:xfrm>
            <a:off x="206375" y="2832100"/>
            <a:ext cx="1368425" cy="369888"/>
          </a:xfrm>
          <a:prstGeom prst="rect">
            <a:avLst/>
          </a:prstGeom>
          <a:noFill/>
          <a:ln w="9525">
            <a:noFill/>
            <a:miter lim="800000"/>
            <a:headEnd/>
            <a:tailEnd/>
          </a:ln>
        </p:spPr>
        <p:txBody>
          <a:bodyPr wrap="none">
            <a:spAutoFit/>
          </a:bodyPr>
          <a:lstStyle/>
          <a:p>
            <a:pPr eaLnBrk="0" hangingPunct="0">
              <a:buSzPct val="100000"/>
            </a:pPr>
            <a:r>
              <a:rPr lang="da-DK">
                <a:sym typeface="Verdana" pitchFamily="34" charset="0"/>
              </a:rPr>
              <a:t>Pancréas</a:t>
            </a:r>
          </a:p>
        </p:txBody>
      </p:sp>
      <p:pic>
        <p:nvPicPr>
          <p:cNvPr id="10249" name="Picture 3" descr="cdic.jpg"/>
          <p:cNvPicPr>
            <a:picLocks noChangeAspect="1"/>
          </p:cNvPicPr>
          <p:nvPr/>
        </p:nvPicPr>
        <p:blipFill>
          <a:blip r:embed="rId5"/>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3714750" y="1428750"/>
            <a:ext cx="3143250" cy="842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chemeClr val="tx1"/>
              </a:solidFill>
            </a:endParaRPr>
          </a:p>
        </p:txBody>
      </p:sp>
      <p:sp>
        <p:nvSpPr>
          <p:cNvPr id="11267" name="Title 1"/>
          <p:cNvSpPr>
            <a:spLocks noGrp="1"/>
          </p:cNvSpPr>
          <p:nvPr>
            <p:ph type="title" idx="4294967295"/>
          </p:nvPr>
        </p:nvSpPr>
        <p:spPr/>
        <p:txBody>
          <a:bodyPr/>
          <a:lstStyle/>
          <a:p>
            <a:pPr eaLnBrk="1" hangingPunct="1"/>
            <a:r>
              <a:rPr lang="da-DK" sz="3600" b="0" smtClean="0">
                <a:sym typeface="Verdana" pitchFamily="34" charset="0"/>
              </a:rPr>
              <a:t> </a:t>
            </a:r>
            <a:r>
              <a:rPr lang="da-DK" smtClean="0">
                <a:sym typeface="Verdana" pitchFamily="34" charset="0"/>
              </a:rPr>
              <a:t>Le diabète de type 1</a:t>
            </a:r>
          </a:p>
        </p:txBody>
      </p:sp>
      <p:sp>
        <p:nvSpPr>
          <p:cNvPr id="11268" name="Content Placeholder 3"/>
          <p:cNvSpPr>
            <a:spLocks noGrp="1"/>
          </p:cNvSpPr>
          <p:nvPr>
            <p:ph sz="half" idx="4294967295"/>
          </p:nvPr>
        </p:nvSpPr>
        <p:spPr>
          <a:xfrm>
            <a:off x="5076825" y="2133600"/>
            <a:ext cx="3748088" cy="3890963"/>
          </a:xfrm>
        </p:spPr>
        <p:txBody>
          <a:bodyPr/>
          <a:lstStyle/>
          <a:p>
            <a:pPr eaLnBrk="1" hangingPunct="1">
              <a:spcAft>
                <a:spcPct val="10000"/>
              </a:spcAft>
              <a:buClr>
                <a:srgbClr val="009FDA"/>
              </a:buClr>
            </a:pPr>
            <a:r>
              <a:rPr lang="da-DK" smtClean="0">
                <a:solidFill>
                  <a:srgbClr val="001965"/>
                </a:solidFill>
                <a:sym typeface="Verdana" pitchFamily="34" charset="0"/>
              </a:rPr>
              <a:t>Trop peu d'insuline sécrétée par le pancréas</a:t>
            </a:r>
          </a:p>
          <a:p>
            <a:pPr eaLnBrk="1" hangingPunct="1">
              <a:spcAft>
                <a:spcPct val="10000"/>
              </a:spcAft>
              <a:buClr>
                <a:srgbClr val="009FDA"/>
              </a:buClr>
            </a:pPr>
            <a:r>
              <a:rPr lang="da-DK" smtClean="0">
                <a:solidFill>
                  <a:srgbClr val="001965"/>
                </a:solidFill>
                <a:sym typeface="Verdana" pitchFamily="34" charset="0"/>
              </a:rPr>
              <a:t>Le glucose s'accumule dans le sang</a:t>
            </a:r>
          </a:p>
          <a:p>
            <a:pPr eaLnBrk="1" hangingPunct="1">
              <a:spcAft>
                <a:spcPct val="10000"/>
              </a:spcAft>
              <a:buClr>
                <a:srgbClr val="009FDA"/>
              </a:buClr>
            </a:pPr>
            <a:r>
              <a:rPr lang="da-DK" smtClean="0">
                <a:solidFill>
                  <a:srgbClr val="001965"/>
                </a:solidFill>
                <a:sym typeface="Verdana" pitchFamily="34" charset="0"/>
              </a:rPr>
              <a:t>Pas assez d'énergie dans les cellules</a:t>
            </a:r>
          </a:p>
          <a:p>
            <a:pPr eaLnBrk="1" hangingPunct="1">
              <a:spcAft>
                <a:spcPct val="10000"/>
              </a:spcAft>
              <a:buClr>
                <a:srgbClr val="009FDA"/>
              </a:buClr>
            </a:pPr>
            <a:r>
              <a:rPr lang="da-DK" b="1" smtClean="0">
                <a:solidFill>
                  <a:srgbClr val="001965"/>
                </a:solidFill>
                <a:sym typeface="Verdana" pitchFamily="34" charset="0"/>
              </a:rPr>
              <a:t>État léthargique</a:t>
            </a:r>
          </a:p>
        </p:txBody>
      </p:sp>
      <p:sp>
        <p:nvSpPr>
          <p:cNvPr id="10246" name="Slide Number Placeholder 28"/>
          <p:cNvSpPr>
            <a:spLocks noGrp="1"/>
          </p:cNvSpPr>
          <p:nvPr>
            <p:ph type="sldNum" sz="quarter" idx="11"/>
          </p:nvPr>
        </p:nvSpPr>
        <p:spPr/>
        <p:txBody>
          <a:bodyPr/>
          <a:lstStyle/>
          <a:p>
            <a:pPr eaLnBrk="0" hangingPunct="0">
              <a:buSzPct val="100000"/>
              <a:defRPr/>
            </a:pPr>
            <a:fld id="{81FDD07D-ED40-4B4A-9A98-8A95C67FBE11}" type="slidenum">
              <a:rPr lang="da-DK" smtClean="0">
                <a:solidFill>
                  <a:srgbClr val="009FDA"/>
                </a:solidFill>
                <a:sym typeface="Verdana" pitchFamily="34" charset="0"/>
              </a:rPr>
              <a:pPr eaLnBrk="0" hangingPunct="0">
                <a:buSzPct val="100000"/>
                <a:defRPr/>
              </a:pPr>
              <a:t>9</a:t>
            </a:fld>
            <a:endParaRPr lang="da-DK" smtClean="0">
              <a:solidFill>
                <a:srgbClr val="009FDA"/>
              </a:solidFill>
              <a:sym typeface="Verdana" pitchFamily="34" charset="0"/>
            </a:endParaRPr>
          </a:p>
        </p:txBody>
      </p:sp>
      <p:grpSp>
        <p:nvGrpSpPr>
          <p:cNvPr id="11270" name="Group 1"/>
          <p:cNvGrpSpPr>
            <a:grpSpLocks/>
          </p:cNvGrpSpPr>
          <p:nvPr/>
        </p:nvGrpSpPr>
        <p:grpSpPr bwMode="auto">
          <a:xfrm>
            <a:off x="503238" y="1643063"/>
            <a:ext cx="4460875" cy="3114675"/>
            <a:chOff x="502964" y="1643118"/>
            <a:chExt cx="6284740" cy="3114606"/>
          </a:xfrm>
        </p:grpSpPr>
        <p:sp>
          <p:nvSpPr>
            <p:cNvPr id="11277" name="AutoShape 9"/>
            <p:cNvSpPr>
              <a:spLocks noChangeArrowheads="1"/>
            </p:cNvSpPr>
            <p:nvPr/>
          </p:nvSpPr>
          <p:spPr bwMode="auto">
            <a:xfrm>
              <a:off x="2305844" y="2100275"/>
              <a:ext cx="1587500" cy="2657449"/>
            </a:xfrm>
            <a:prstGeom prst="can">
              <a:avLst>
                <a:gd name="adj" fmla="val 12981"/>
              </a:avLst>
            </a:prstGeom>
            <a:solidFill>
              <a:srgbClr val="C00000"/>
            </a:solidFill>
            <a:ln w="9525">
              <a:solidFill>
                <a:schemeClr val="tx1"/>
              </a:solidFill>
              <a:round/>
              <a:headEnd/>
              <a:tailEnd/>
            </a:ln>
          </p:spPr>
          <p:txBody>
            <a:bodyPr wrap="none" anchor="ctr"/>
            <a:lstStyle/>
            <a:p>
              <a:endParaRPr lang="en-US"/>
            </a:p>
          </p:txBody>
        </p:sp>
        <p:sp>
          <p:nvSpPr>
            <p:cNvPr id="11278" name="AutoShape 10"/>
            <p:cNvSpPr>
              <a:spLocks noChangeArrowheads="1"/>
            </p:cNvSpPr>
            <p:nvPr/>
          </p:nvSpPr>
          <p:spPr bwMode="auto">
            <a:xfrm>
              <a:off x="3857626" y="2198687"/>
              <a:ext cx="2930078" cy="2559037"/>
            </a:xfrm>
            <a:prstGeom prst="roundRect">
              <a:avLst>
                <a:gd name="adj" fmla="val 16667"/>
              </a:avLst>
            </a:prstGeom>
            <a:solidFill>
              <a:schemeClr val="accent1"/>
            </a:solidFill>
            <a:ln w="9525">
              <a:solidFill>
                <a:schemeClr val="tx1"/>
              </a:solidFill>
              <a:round/>
              <a:headEnd/>
              <a:tailEnd/>
            </a:ln>
          </p:spPr>
          <p:txBody>
            <a:bodyPr wrap="none" anchor="ctr"/>
            <a:lstStyle/>
            <a:p>
              <a:endParaRPr lang="en-US"/>
            </a:p>
          </p:txBody>
        </p:sp>
        <p:sp>
          <p:nvSpPr>
            <p:cNvPr id="19460" name="Rectangle 11"/>
            <p:cNvSpPr>
              <a:spLocks noChangeArrowheads="1"/>
            </p:cNvSpPr>
            <p:nvPr/>
          </p:nvSpPr>
          <p:spPr bwMode="auto">
            <a:xfrm>
              <a:off x="3857807" y="2198731"/>
              <a:ext cx="44731" cy="2558993"/>
            </a:xfrm>
            <a:prstGeom prst="rect">
              <a:avLst/>
            </a:prstGeom>
            <a:solidFill>
              <a:schemeClr val="bg1">
                <a:lumMod val="65000"/>
              </a:schemeClr>
            </a:solidFill>
            <a:ln w="9525">
              <a:solidFill>
                <a:schemeClr val="tx1"/>
              </a:solidFill>
              <a:miter lim="800000"/>
              <a:headEnd/>
              <a:tailEnd/>
            </a:ln>
          </p:spPr>
          <p:txBody>
            <a:bodyPr wrap="none" anchor="ctr"/>
            <a:lstStyle/>
            <a:p>
              <a:pPr>
                <a:defRPr/>
              </a:pPr>
              <a:endParaRPr lang="en-US">
                <a:cs typeface="+mn-cs"/>
              </a:endParaRPr>
            </a:p>
          </p:txBody>
        </p:sp>
        <p:sp>
          <p:nvSpPr>
            <p:cNvPr id="11280" name="AutoShape 12"/>
            <p:cNvSpPr>
              <a:spLocks noChangeArrowheads="1"/>
            </p:cNvSpPr>
            <p:nvPr/>
          </p:nvSpPr>
          <p:spPr bwMode="auto">
            <a:xfrm>
              <a:off x="2573338" y="2927284"/>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1281" name="AutoShape 13"/>
            <p:cNvSpPr>
              <a:spLocks noChangeArrowheads="1"/>
            </p:cNvSpPr>
            <p:nvPr/>
          </p:nvSpPr>
          <p:spPr bwMode="auto">
            <a:xfrm>
              <a:off x="3362326" y="3034506"/>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1282" name="AutoShape 14"/>
            <p:cNvSpPr>
              <a:spLocks noChangeArrowheads="1"/>
            </p:cNvSpPr>
            <p:nvPr/>
          </p:nvSpPr>
          <p:spPr bwMode="auto">
            <a:xfrm>
              <a:off x="3024188" y="2854325"/>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1283" name="AutoShape 15"/>
            <p:cNvSpPr>
              <a:spLocks noChangeArrowheads="1"/>
            </p:cNvSpPr>
            <p:nvPr/>
          </p:nvSpPr>
          <p:spPr bwMode="auto">
            <a:xfrm>
              <a:off x="2789238" y="3271830"/>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1284" name="AutoShape 16"/>
            <p:cNvSpPr>
              <a:spLocks noChangeArrowheads="1"/>
            </p:cNvSpPr>
            <p:nvPr/>
          </p:nvSpPr>
          <p:spPr bwMode="auto">
            <a:xfrm>
              <a:off x="3302001" y="3476624"/>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1285" name="AutoShape 17"/>
            <p:cNvSpPr>
              <a:spLocks noChangeArrowheads="1"/>
            </p:cNvSpPr>
            <p:nvPr/>
          </p:nvSpPr>
          <p:spPr bwMode="auto">
            <a:xfrm>
              <a:off x="3146341" y="3868734"/>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1286" name="AutoShape 18"/>
            <p:cNvSpPr>
              <a:spLocks noChangeArrowheads="1"/>
            </p:cNvSpPr>
            <p:nvPr/>
          </p:nvSpPr>
          <p:spPr bwMode="auto">
            <a:xfrm>
              <a:off x="2789238" y="3702049"/>
              <a:ext cx="215900" cy="21748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1287" name="AutoShape 19"/>
            <p:cNvSpPr>
              <a:spLocks noChangeArrowheads="1"/>
            </p:cNvSpPr>
            <p:nvPr/>
          </p:nvSpPr>
          <p:spPr bwMode="auto">
            <a:xfrm>
              <a:off x="2789238" y="2510371"/>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1288" name="AutoShape 20"/>
            <p:cNvSpPr>
              <a:spLocks noChangeArrowheads="1"/>
            </p:cNvSpPr>
            <p:nvPr/>
          </p:nvSpPr>
          <p:spPr bwMode="auto">
            <a:xfrm>
              <a:off x="2573338" y="4294187"/>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sp>
          <p:nvSpPr>
            <p:cNvPr id="11289" name="AutoShape 22"/>
            <p:cNvSpPr>
              <a:spLocks noChangeArrowheads="1"/>
            </p:cNvSpPr>
            <p:nvPr/>
          </p:nvSpPr>
          <p:spPr bwMode="auto">
            <a:xfrm>
              <a:off x="3278189" y="4325130"/>
              <a:ext cx="215900" cy="217488"/>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chemeClr val="accent1"/>
            </a:solidFill>
            <a:ln w="9525">
              <a:solidFill>
                <a:schemeClr val="tx1"/>
              </a:solidFill>
              <a:round/>
              <a:headEnd/>
              <a:tailEnd/>
            </a:ln>
          </p:spPr>
          <p:txBody>
            <a:bodyPr wrap="none" anchor="ctr"/>
            <a:lstStyle/>
            <a:p>
              <a:endParaRPr lang="fr-FR"/>
            </a:p>
          </p:txBody>
        </p:sp>
        <p:grpSp>
          <p:nvGrpSpPr>
            <p:cNvPr id="11290" name="Group 1037"/>
            <p:cNvGrpSpPr>
              <a:grpSpLocks/>
            </p:cNvGrpSpPr>
            <p:nvPr/>
          </p:nvGrpSpPr>
          <p:grpSpPr bwMode="auto">
            <a:xfrm>
              <a:off x="502964" y="1643118"/>
              <a:ext cx="1447800" cy="1143000"/>
              <a:chOff x="3844" y="1586"/>
              <a:chExt cx="755" cy="516"/>
            </a:xfrm>
          </p:grpSpPr>
          <p:sp>
            <p:nvSpPr>
              <p:cNvPr id="11296" name="Freeform 1038"/>
              <p:cNvSpPr>
                <a:spLocks/>
              </p:cNvSpPr>
              <p:nvPr/>
            </p:nvSpPr>
            <p:spPr bwMode="auto">
              <a:xfrm>
                <a:off x="3875" y="1594"/>
                <a:ext cx="724" cy="508"/>
              </a:xfrm>
              <a:custGeom>
                <a:avLst/>
                <a:gdLst>
                  <a:gd name="T0" fmla="*/ 0 w 2172"/>
                  <a:gd name="T1" fmla="*/ 0 h 1522"/>
                  <a:gd name="T2" fmla="*/ 0 w 2172"/>
                  <a:gd name="T3" fmla="*/ 0 h 1522"/>
                  <a:gd name="T4" fmla="*/ 0 w 2172"/>
                  <a:gd name="T5" fmla="*/ 0 h 1522"/>
                  <a:gd name="T6" fmla="*/ 0 w 2172"/>
                  <a:gd name="T7" fmla="*/ 0 h 1522"/>
                  <a:gd name="T8" fmla="*/ 0 w 2172"/>
                  <a:gd name="T9" fmla="*/ 0 h 1522"/>
                  <a:gd name="T10" fmla="*/ 0 w 2172"/>
                  <a:gd name="T11" fmla="*/ 0 h 1522"/>
                  <a:gd name="T12" fmla="*/ 0 w 2172"/>
                  <a:gd name="T13" fmla="*/ 0 h 1522"/>
                  <a:gd name="T14" fmla="*/ 0 w 2172"/>
                  <a:gd name="T15" fmla="*/ 0 h 1522"/>
                  <a:gd name="T16" fmla="*/ 0 w 2172"/>
                  <a:gd name="T17" fmla="*/ 0 h 1522"/>
                  <a:gd name="T18" fmla="*/ 0 w 2172"/>
                  <a:gd name="T19" fmla="*/ 0 h 1522"/>
                  <a:gd name="T20" fmla="*/ 0 w 2172"/>
                  <a:gd name="T21" fmla="*/ 0 h 1522"/>
                  <a:gd name="T22" fmla="*/ 0 w 2172"/>
                  <a:gd name="T23" fmla="*/ 0 h 1522"/>
                  <a:gd name="T24" fmla="*/ 0 w 2172"/>
                  <a:gd name="T25" fmla="*/ 0 h 1522"/>
                  <a:gd name="T26" fmla="*/ 0 w 2172"/>
                  <a:gd name="T27" fmla="*/ 0 h 1522"/>
                  <a:gd name="T28" fmla="*/ 0 w 2172"/>
                  <a:gd name="T29" fmla="*/ 0 h 1522"/>
                  <a:gd name="T30" fmla="*/ 0 w 2172"/>
                  <a:gd name="T31" fmla="*/ 0 h 1522"/>
                  <a:gd name="T32" fmla="*/ 0 w 2172"/>
                  <a:gd name="T33" fmla="*/ 0 h 1522"/>
                  <a:gd name="T34" fmla="*/ 0 w 2172"/>
                  <a:gd name="T35" fmla="*/ 0 h 1522"/>
                  <a:gd name="T36" fmla="*/ 0 w 2172"/>
                  <a:gd name="T37" fmla="*/ 0 h 1522"/>
                  <a:gd name="T38" fmla="*/ 0 w 2172"/>
                  <a:gd name="T39" fmla="*/ 0 h 1522"/>
                  <a:gd name="T40" fmla="*/ 0 w 2172"/>
                  <a:gd name="T41" fmla="*/ 0 h 1522"/>
                  <a:gd name="T42" fmla="*/ 0 w 2172"/>
                  <a:gd name="T43" fmla="*/ 0 h 1522"/>
                  <a:gd name="T44" fmla="*/ 0 w 2172"/>
                  <a:gd name="T45" fmla="*/ 0 h 1522"/>
                  <a:gd name="T46" fmla="*/ 0 w 2172"/>
                  <a:gd name="T47" fmla="*/ 0 h 1522"/>
                  <a:gd name="T48" fmla="*/ 0 w 2172"/>
                  <a:gd name="T49" fmla="*/ 0 h 1522"/>
                  <a:gd name="T50" fmla="*/ 0 w 2172"/>
                  <a:gd name="T51" fmla="*/ 0 h 1522"/>
                  <a:gd name="T52" fmla="*/ 0 w 2172"/>
                  <a:gd name="T53" fmla="*/ 0 h 1522"/>
                  <a:gd name="T54" fmla="*/ 0 w 2172"/>
                  <a:gd name="T55" fmla="*/ 0 h 1522"/>
                  <a:gd name="T56" fmla="*/ 0 w 2172"/>
                  <a:gd name="T57" fmla="*/ 0 h 1522"/>
                  <a:gd name="T58" fmla="*/ 0 w 2172"/>
                  <a:gd name="T59" fmla="*/ 0 h 1522"/>
                  <a:gd name="T60" fmla="*/ 0 w 2172"/>
                  <a:gd name="T61" fmla="*/ 0 h 1522"/>
                  <a:gd name="T62" fmla="*/ 0 w 2172"/>
                  <a:gd name="T63" fmla="*/ 0 h 1522"/>
                  <a:gd name="T64" fmla="*/ 0 w 2172"/>
                  <a:gd name="T65" fmla="*/ 0 h 1522"/>
                  <a:gd name="T66" fmla="*/ 0 w 2172"/>
                  <a:gd name="T67" fmla="*/ 0 h 1522"/>
                  <a:gd name="T68" fmla="*/ 0 w 2172"/>
                  <a:gd name="T69" fmla="*/ 0 h 1522"/>
                  <a:gd name="T70" fmla="*/ 0 w 2172"/>
                  <a:gd name="T71" fmla="*/ 0 h 1522"/>
                  <a:gd name="T72" fmla="*/ 0 w 2172"/>
                  <a:gd name="T73" fmla="*/ 0 h 1522"/>
                  <a:gd name="T74" fmla="*/ 0 w 2172"/>
                  <a:gd name="T75" fmla="*/ 0 h 1522"/>
                  <a:gd name="T76" fmla="*/ 0 w 2172"/>
                  <a:gd name="T77" fmla="*/ 0 h 1522"/>
                  <a:gd name="T78" fmla="*/ 0 w 2172"/>
                  <a:gd name="T79" fmla="*/ 0 h 1522"/>
                  <a:gd name="T80" fmla="*/ 0 w 2172"/>
                  <a:gd name="T81" fmla="*/ 0 h 1522"/>
                  <a:gd name="T82" fmla="*/ 0 w 2172"/>
                  <a:gd name="T83" fmla="*/ 0 h 1522"/>
                  <a:gd name="T84" fmla="*/ 0 w 2172"/>
                  <a:gd name="T85" fmla="*/ 0 h 1522"/>
                  <a:gd name="T86" fmla="*/ 0 w 2172"/>
                  <a:gd name="T87" fmla="*/ 0 h 1522"/>
                  <a:gd name="T88" fmla="*/ 0 w 2172"/>
                  <a:gd name="T89" fmla="*/ 0 h 1522"/>
                  <a:gd name="T90" fmla="*/ 0 w 2172"/>
                  <a:gd name="T91" fmla="*/ 0 h 1522"/>
                  <a:gd name="T92" fmla="*/ 0 w 2172"/>
                  <a:gd name="T93" fmla="*/ 0 h 1522"/>
                  <a:gd name="T94" fmla="*/ 0 w 2172"/>
                  <a:gd name="T95" fmla="*/ 0 h 152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72"/>
                  <a:gd name="T145" fmla="*/ 0 h 1522"/>
                  <a:gd name="T146" fmla="*/ 2172 w 2172"/>
                  <a:gd name="T147" fmla="*/ 1522 h 152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72" h="1522">
                    <a:moveTo>
                      <a:pt x="883" y="1339"/>
                    </a:moveTo>
                    <a:lnTo>
                      <a:pt x="883" y="1250"/>
                    </a:lnTo>
                    <a:lnTo>
                      <a:pt x="844" y="1216"/>
                    </a:lnTo>
                    <a:lnTo>
                      <a:pt x="831" y="1175"/>
                    </a:lnTo>
                    <a:lnTo>
                      <a:pt x="759" y="1160"/>
                    </a:lnTo>
                    <a:lnTo>
                      <a:pt x="765" y="1136"/>
                    </a:lnTo>
                    <a:lnTo>
                      <a:pt x="722" y="1112"/>
                    </a:lnTo>
                    <a:lnTo>
                      <a:pt x="673" y="1108"/>
                    </a:lnTo>
                    <a:lnTo>
                      <a:pt x="673" y="1084"/>
                    </a:lnTo>
                    <a:lnTo>
                      <a:pt x="660" y="1038"/>
                    </a:lnTo>
                    <a:lnTo>
                      <a:pt x="684" y="999"/>
                    </a:lnTo>
                    <a:lnTo>
                      <a:pt x="740" y="1005"/>
                    </a:lnTo>
                    <a:lnTo>
                      <a:pt x="783" y="973"/>
                    </a:lnTo>
                    <a:lnTo>
                      <a:pt x="826" y="973"/>
                    </a:lnTo>
                    <a:lnTo>
                      <a:pt x="872" y="958"/>
                    </a:lnTo>
                    <a:lnTo>
                      <a:pt x="963" y="921"/>
                    </a:lnTo>
                    <a:lnTo>
                      <a:pt x="1028" y="891"/>
                    </a:lnTo>
                    <a:lnTo>
                      <a:pt x="1091" y="901"/>
                    </a:lnTo>
                    <a:lnTo>
                      <a:pt x="1119" y="867"/>
                    </a:lnTo>
                    <a:lnTo>
                      <a:pt x="1169" y="863"/>
                    </a:lnTo>
                    <a:lnTo>
                      <a:pt x="1214" y="849"/>
                    </a:lnTo>
                    <a:lnTo>
                      <a:pt x="1293" y="836"/>
                    </a:lnTo>
                    <a:lnTo>
                      <a:pt x="1379" y="815"/>
                    </a:lnTo>
                    <a:lnTo>
                      <a:pt x="1416" y="784"/>
                    </a:lnTo>
                    <a:lnTo>
                      <a:pt x="1474" y="754"/>
                    </a:lnTo>
                    <a:lnTo>
                      <a:pt x="1529" y="751"/>
                    </a:lnTo>
                    <a:lnTo>
                      <a:pt x="1600" y="710"/>
                    </a:lnTo>
                    <a:lnTo>
                      <a:pt x="1686" y="669"/>
                    </a:lnTo>
                    <a:lnTo>
                      <a:pt x="1732" y="656"/>
                    </a:lnTo>
                    <a:lnTo>
                      <a:pt x="1771" y="625"/>
                    </a:lnTo>
                    <a:lnTo>
                      <a:pt x="1842" y="591"/>
                    </a:lnTo>
                    <a:lnTo>
                      <a:pt x="1875" y="539"/>
                    </a:lnTo>
                    <a:lnTo>
                      <a:pt x="1951" y="509"/>
                    </a:lnTo>
                    <a:lnTo>
                      <a:pt x="2001" y="441"/>
                    </a:lnTo>
                    <a:lnTo>
                      <a:pt x="2055" y="407"/>
                    </a:lnTo>
                    <a:lnTo>
                      <a:pt x="2096" y="350"/>
                    </a:lnTo>
                    <a:lnTo>
                      <a:pt x="2144" y="271"/>
                    </a:lnTo>
                    <a:lnTo>
                      <a:pt x="2172" y="187"/>
                    </a:lnTo>
                    <a:lnTo>
                      <a:pt x="2167" y="111"/>
                    </a:lnTo>
                    <a:lnTo>
                      <a:pt x="2144" y="11"/>
                    </a:lnTo>
                    <a:lnTo>
                      <a:pt x="2096" y="0"/>
                    </a:lnTo>
                    <a:lnTo>
                      <a:pt x="2049" y="29"/>
                    </a:lnTo>
                    <a:lnTo>
                      <a:pt x="1959" y="74"/>
                    </a:lnTo>
                    <a:lnTo>
                      <a:pt x="1899" y="92"/>
                    </a:lnTo>
                    <a:lnTo>
                      <a:pt x="1870" y="139"/>
                    </a:lnTo>
                    <a:lnTo>
                      <a:pt x="1762" y="176"/>
                    </a:lnTo>
                    <a:lnTo>
                      <a:pt x="1723" y="203"/>
                    </a:lnTo>
                    <a:lnTo>
                      <a:pt x="1665" y="210"/>
                    </a:lnTo>
                    <a:lnTo>
                      <a:pt x="1615" y="243"/>
                    </a:lnTo>
                    <a:lnTo>
                      <a:pt x="1558" y="246"/>
                    </a:lnTo>
                    <a:lnTo>
                      <a:pt x="1521" y="243"/>
                    </a:lnTo>
                    <a:lnTo>
                      <a:pt x="1466" y="289"/>
                    </a:lnTo>
                    <a:lnTo>
                      <a:pt x="1374" y="295"/>
                    </a:lnTo>
                    <a:lnTo>
                      <a:pt x="1331" y="309"/>
                    </a:lnTo>
                    <a:lnTo>
                      <a:pt x="1299" y="337"/>
                    </a:lnTo>
                    <a:lnTo>
                      <a:pt x="1270" y="322"/>
                    </a:lnTo>
                    <a:lnTo>
                      <a:pt x="1245" y="326"/>
                    </a:lnTo>
                    <a:lnTo>
                      <a:pt x="1229" y="332"/>
                    </a:lnTo>
                    <a:lnTo>
                      <a:pt x="1183" y="319"/>
                    </a:lnTo>
                    <a:lnTo>
                      <a:pt x="1149" y="337"/>
                    </a:lnTo>
                    <a:lnTo>
                      <a:pt x="1119" y="341"/>
                    </a:lnTo>
                    <a:lnTo>
                      <a:pt x="1080" y="361"/>
                    </a:lnTo>
                    <a:lnTo>
                      <a:pt x="1015" y="337"/>
                    </a:lnTo>
                    <a:lnTo>
                      <a:pt x="972" y="350"/>
                    </a:lnTo>
                    <a:lnTo>
                      <a:pt x="952" y="387"/>
                    </a:lnTo>
                    <a:lnTo>
                      <a:pt x="906" y="374"/>
                    </a:lnTo>
                    <a:lnTo>
                      <a:pt x="835" y="411"/>
                    </a:lnTo>
                    <a:lnTo>
                      <a:pt x="802" y="407"/>
                    </a:lnTo>
                    <a:lnTo>
                      <a:pt x="736" y="435"/>
                    </a:lnTo>
                    <a:lnTo>
                      <a:pt x="703" y="472"/>
                    </a:lnTo>
                    <a:lnTo>
                      <a:pt x="650" y="478"/>
                    </a:lnTo>
                    <a:lnTo>
                      <a:pt x="584" y="478"/>
                    </a:lnTo>
                    <a:lnTo>
                      <a:pt x="537" y="509"/>
                    </a:lnTo>
                    <a:lnTo>
                      <a:pt x="516" y="496"/>
                    </a:lnTo>
                    <a:lnTo>
                      <a:pt x="482" y="515"/>
                    </a:lnTo>
                    <a:lnTo>
                      <a:pt x="410" y="571"/>
                    </a:lnTo>
                    <a:lnTo>
                      <a:pt x="358" y="571"/>
                    </a:lnTo>
                    <a:lnTo>
                      <a:pt x="306" y="595"/>
                    </a:lnTo>
                    <a:lnTo>
                      <a:pt x="286" y="628"/>
                    </a:lnTo>
                    <a:lnTo>
                      <a:pt x="238" y="619"/>
                    </a:lnTo>
                    <a:lnTo>
                      <a:pt x="183" y="646"/>
                    </a:lnTo>
                    <a:lnTo>
                      <a:pt x="183" y="683"/>
                    </a:lnTo>
                    <a:lnTo>
                      <a:pt x="159" y="675"/>
                    </a:lnTo>
                    <a:lnTo>
                      <a:pt x="125" y="704"/>
                    </a:lnTo>
                    <a:lnTo>
                      <a:pt x="88" y="738"/>
                    </a:lnTo>
                    <a:lnTo>
                      <a:pt x="60" y="788"/>
                    </a:lnTo>
                    <a:lnTo>
                      <a:pt x="12" y="863"/>
                    </a:lnTo>
                    <a:lnTo>
                      <a:pt x="0" y="968"/>
                    </a:lnTo>
                    <a:lnTo>
                      <a:pt x="12" y="1071"/>
                    </a:lnTo>
                    <a:lnTo>
                      <a:pt x="153" y="1283"/>
                    </a:lnTo>
                    <a:lnTo>
                      <a:pt x="320" y="1448"/>
                    </a:lnTo>
                    <a:lnTo>
                      <a:pt x="529" y="1522"/>
                    </a:lnTo>
                    <a:lnTo>
                      <a:pt x="703" y="1479"/>
                    </a:lnTo>
                    <a:lnTo>
                      <a:pt x="820" y="1418"/>
                    </a:lnTo>
                    <a:lnTo>
                      <a:pt x="883" y="1339"/>
                    </a:lnTo>
                    <a:close/>
                  </a:path>
                </a:pathLst>
              </a:custGeom>
              <a:solidFill>
                <a:srgbClr val="FFDFA0"/>
              </a:solidFill>
              <a:ln w="9525">
                <a:noFill/>
                <a:round/>
                <a:headEnd/>
                <a:tailEnd/>
              </a:ln>
            </p:spPr>
            <p:txBody>
              <a:bodyPr/>
              <a:lstStyle/>
              <a:p>
                <a:endParaRPr lang="fr-FR"/>
              </a:p>
            </p:txBody>
          </p:sp>
          <p:sp>
            <p:nvSpPr>
              <p:cNvPr id="11297" name="Freeform 1039"/>
              <p:cNvSpPr>
                <a:spLocks/>
              </p:cNvSpPr>
              <p:nvPr/>
            </p:nvSpPr>
            <p:spPr bwMode="auto">
              <a:xfrm>
                <a:off x="3932" y="1749"/>
                <a:ext cx="211" cy="89"/>
              </a:xfrm>
              <a:custGeom>
                <a:avLst/>
                <a:gdLst>
                  <a:gd name="T0" fmla="*/ 0 w 632"/>
                  <a:gd name="T1" fmla="*/ 0 h 268"/>
                  <a:gd name="T2" fmla="*/ 0 w 632"/>
                  <a:gd name="T3" fmla="*/ 0 h 268"/>
                  <a:gd name="T4" fmla="*/ 0 w 632"/>
                  <a:gd name="T5" fmla="*/ 0 h 268"/>
                  <a:gd name="T6" fmla="*/ 0 w 632"/>
                  <a:gd name="T7" fmla="*/ 0 h 268"/>
                  <a:gd name="T8" fmla="*/ 0 w 632"/>
                  <a:gd name="T9" fmla="*/ 0 h 268"/>
                  <a:gd name="T10" fmla="*/ 0 w 632"/>
                  <a:gd name="T11" fmla="*/ 0 h 268"/>
                  <a:gd name="T12" fmla="*/ 0 w 632"/>
                  <a:gd name="T13" fmla="*/ 0 h 268"/>
                  <a:gd name="T14" fmla="*/ 0 w 632"/>
                  <a:gd name="T15" fmla="*/ 0 h 268"/>
                  <a:gd name="T16" fmla="*/ 0 w 632"/>
                  <a:gd name="T17" fmla="*/ 0 h 268"/>
                  <a:gd name="T18" fmla="*/ 0 w 632"/>
                  <a:gd name="T19" fmla="*/ 0 h 268"/>
                  <a:gd name="T20" fmla="*/ 0 w 632"/>
                  <a:gd name="T21" fmla="*/ 0 h 268"/>
                  <a:gd name="T22" fmla="*/ 0 w 632"/>
                  <a:gd name="T23" fmla="*/ 0 h 268"/>
                  <a:gd name="T24" fmla="*/ 0 w 632"/>
                  <a:gd name="T25" fmla="*/ 0 h 268"/>
                  <a:gd name="T26" fmla="*/ 0 w 632"/>
                  <a:gd name="T27" fmla="*/ 0 h 268"/>
                  <a:gd name="T28" fmla="*/ 0 w 632"/>
                  <a:gd name="T29" fmla="*/ 0 h 268"/>
                  <a:gd name="T30" fmla="*/ 0 w 632"/>
                  <a:gd name="T31" fmla="*/ 0 h 268"/>
                  <a:gd name="T32" fmla="*/ 0 w 632"/>
                  <a:gd name="T33" fmla="*/ 0 h 268"/>
                  <a:gd name="T34" fmla="*/ 0 w 632"/>
                  <a:gd name="T35" fmla="*/ 0 h 268"/>
                  <a:gd name="T36" fmla="*/ 0 w 632"/>
                  <a:gd name="T37" fmla="*/ 0 h 268"/>
                  <a:gd name="T38" fmla="*/ 0 w 632"/>
                  <a:gd name="T39" fmla="*/ 0 h 268"/>
                  <a:gd name="T40" fmla="*/ 0 w 632"/>
                  <a:gd name="T41" fmla="*/ 0 h 268"/>
                  <a:gd name="T42" fmla="*/ 0 w 632"/>
                  <a:gd name="T43" fmla="*/ 0 h 268"/>
                  <a:gd name="T44" fmla="*/ 0 w 632"/>
                  <a:gd name="T45" fmla="*/ 0 h 268"/>
                  <a:gd name="T46" fmla="*/ 0 w 632"/>
                  <a:gd name="T47" fmla="*/ 0 h 268"/>
                  <a:gd name="T48" fmla="*/ 0 w 632"/>
                  <a:gd name="T49" fmla="*/ 0 h 268"/>
                  <a:gd name="T50" fmla="*/ 0 w 632"/>
                  <a:gd name="T51" fmla="*/ 0 h 268"/>
                  <a:gd name="T52" fmla="*/ 0 w 632"/>
                  <a:gd name="T53" fmla="*/ 0 h 268"/>
                  <a:gd name="T54" fmla="*/ 0 w 632"/>
                  <a:gd name="T55" fmla="*/ 0 h 268"/>
                  <a:gd name="T56" fmla="*/ 0 w 632"/>
                  <a:gd name="T57" fmla="*/ 0 h 268"/>
                  <a:gd name="T58" fmla="*/ 0 w 632"/>
                  <a:gd name="T59" fmla="*/ 0 h 268"/>
                  <a:gd name="T60" fmla="*/ 0 w 632"/>
                  <a:gd name="T61" fmla="*/ 0 h 268"/>
                  <a:gd name="T62" fmla="*/ 0 w 632"/>
                  <a:gd name="T63" fmla="*/ 0 h 268"/>
                  <a:gd name="T64" fmla="*/ 0 w 632"/>
                  <a:gd name="T65" fmla="*/ 0 h 268"/>
                  <a:gd name="T66" fmla="*/ 0 w 632"/>
                  <a:gd name="T67" fmla="*/ 0 h 268"/>
                  <a:gd name="T68" fmla="*/ 0 w 632"/>
                  <a:gd name="T69" fmla="*/ 0 h 268"/>
                  <a:gd name="T70" fmla="*/ 0 w 632"/>
                  <a:gd name="T71" fmla="*/ 0 h 268"/>
                  <a:gd name="T72" fmla="*/ 0 w 632"/>
                  <a:gd name="T73" fmla="*/ 0 h 268"/>
                  <a:gd name="T74" fmla="*/ 0 w 632"/>
                  <a:gd name="T75" fmla="*/ 0 h 268"/>
                  <a:gd name="T76" fmla="*/ 0 w 632"/>
                  <a:gd name="T77" fmla="*/ 0 h 2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32"/>
                  <a:gd name="T118" fmla="*/ 0 h 268"/>
                  <a:gd name="T119" fmla="*/ 632 w 632"/>
                  <a:gd name="T120" fmla="*/ 268 h 26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32" h="268">
                    <a:moveTo>
                      <a:pt x="632" y="0"/>
                    </a:moveTo>
                    <a:lnTo>
                      <a:pt x="622" y="44"/>
                    </a:lnTo>
                    <a:lnTo>
                      <a:pt x="591" y="64"/>
                    </a:lnTo>
                    <a:lnTo>
                      <a:pt x="563" y="54"/>
                    </a:lnTo>
                    <a:lnTo>
                      <a:pt x="537" y="75"/>
                    </a:lnTo>
                    <a:lnTo>
                      <a:pt x="500" y="69"/>
                    </a:lnTo>
                    <a:lnTo>
                      <a:pt x="451" y="127"/>
                    </a:lnTo>
                    <a:lnTo>
                      <a:pt x="401" y="112"/>
                    </a:lnTo>
                    <a:lnTo>
                      <a:pt x="392" y="91"/>
                    </a:lnTo>
                    <a:lnTo>
                      <a:pt x="349" y="142"/>
                    </a:lnTo>
                    <a:lnTo>
                      <a:pt x="312" y="127"/>
                    </a:lnTo>
                    <a:lnTo>
                      <a:pt x="275" y="174"/>
                    </a:lnTo>
                    <a:lnTo>
                      <a:pt x="248" y="153"/>
                    </a:lnTo>
                    <a:lnTo>
                      <a:pt x="215" y="191"/>
                    </a:lnTo>
                    <a:lnTo>
                      <a:pt x="174" y="205"/>
                    </a:lnTo>
                    <a:lnTo>
                      <a:pt x="148" y="194"/>
                    </a:lnTo>
                    <a:lnTo>
                      <a:pt x="116" y="238"/>
                    </a:lnTo>
                    <a:lnTo>
                      <a:pt x="78" y="234"/>
                    </a:lnTo>
                    <a:lnTo>
                      <a:pt x="59" y="211"/>
                    </a:lnTo>
                    <a:lnTo>
                      <a:pt x="31" y="268"/>
                    </a:lnTo>
                    <a:lnTo>
                      <a:pt x="0" y="263"/>
                    </a:lnTo>
                    <a:lnTo>
                      <a:pt x="4" y="238"/>
                    </a:lnTo>
                    <a:lnTo>
                      <a:pt x="22" y="226"/>
                    </a:lnTo>
                    <a:lnTo>
                      <a:pt x="53" y="194"/>
                    </a:lnTo>
                    <a:lnTo>
                      <a:pt x="95" y="179"/>
                    </a:lnTo>
                    <a:lnTo>
                      <a:pt x="136" y="174"/>
                    </a:lnTo>
                    <a:lnTo>
                      <a:pt x="169" y="142"/>
                    </a:lnTo>
                    <a:lnTo>
                      <a:pt x="237" y="131"/>
                    </a:lnTo>
                    <a:lnTo>
                      <a:pt x="258" y="106"/>
                    </a:lnTo>
                    <a:lnTo>
                      <a:pt x="301" y="112"/>
                    </a:lnTo>
                    <a:lnTo>
                      <a:pt x="332" y="64"/>
                    </a:lnTo>
                    <a:lnTo>
                      <a:pt x="392" y="57"/>
                    </a:lnTo>
                    <a:lnTo>
                      <a:pt x="444" y="44"/>
                    </a:lnTo>
                    <a:lnTo>
                      <a:pt x="479" y="44"/>
                    </a:lnTo>
                    <a:lnTo>
                      <a:pt x="531" y="12"/>
                    </a:lnTo>
                    <a:lnTo>
                      <a:pt x="554" y="27"/>
                    </a:lnTo>
                    <a:lnTo>
                      <a:pt x="600" y="0"/>
                    </a:lnTo>
                    <a:lnTo>
                      <a:pt x="632" y="0"/>
                    </a:lnTo>
                    <a:close/>
                  </a:path>
                </a:pathLst>
              </a:custGeom>
              <a:solidFill>
                <a:srgbClr val="FFFFFF"/>
              </a:solidFill>
              <a:ln w="9525">
                <a:noFill/>
                <a:round/>
                <a:headEnd/>
                <a:tailEnd/>
              </a:ln>
            </p:spPr>
            <p:txBody>
              <a:bodyPr/>
              <a:lstStyle/>
              <a:p>
                <a:endParaRPr lang="fr-FR"/>
              </a:p>
            </p:txBody>
          </p:sp>
          <p:sp>
            <p:nvSpPr>
              <p:cNvPr id="11298" name="Freeform 1040"/>
              <p:cNvSpPr>
                <a:spLocks/>
              </p:cNvSpPr>
              <p:nvPr/>
            </p:nvSpPr>
            <p:spPr bwMode="auto">
              <a:xfrm>
                <a:off x="4369" y="1661"/>
                <a:ext cx="106" cy="49"/>
              </a:xfrm>
              <a:custGeom>
                <a:avLst/>
                <a:gdLst>
                  <a:gd name="T0" fmla="*/ 0 w 317"/>
                  <a:gd name="T1" fmla="*/ 0 h 147"/>
                  <a:gd name="T2" fmla="*/ 0 w 317"/>
                  <a:gd name="T3" fmla="*/ 0 h 147"/>
                  <a:gd name="T4" fmla="*/ 0 w 317"/>
                  <a:gd name="T5" fmla="*/ 0 h 147"/>
                  <a:gd name="T6" fmla="*/ 0 w 317"/>
                  <a:gd name="T7" fmla="*/ 0 h 147"/>
                  <a:gd name="T8" fmla="*/ 0 w 317"/>
                  <a:gd name="T9" fmla="*/ 0 h 147"/>
                  <a:gd name="T10" fmla="*/ 0 w 317"/>
                  <a:gd name="T11" fmla="*/ 0 h 147"/>
                  <a:gd name="T12" fmla="*/ 0 w 317"/>
                  <a:gd name="T13" fmla="*/ 0 h 147"/>
                  <a:gd name="T14" fmla="*/ 0 w 317"/>
                  <a:gd name="T15" fmla="*/ 0 h 147"/>
                  <a:gd name="T16" fmla="*/ 0 w 317"/>
                  <a:gd name="T17" fmla="*/ 0 h 147"/>
                  <a:gd name="T18" fmla="*/ 0 w 317"/>
                  <a:gd name="T19" fmla="*/ 0 h 147"/>
                  <a:gd name="T20" fmla="*/ 0 w 317"/>
                  <a:gd name="T21" fmla="*/ 0 h 147"/>
                  <a:gd name="T22" fmla="*/ 0 w 317"/>
                  <a:gd name="T23" fmla="*/ 0 h 147"/>
                  <a:gd name="T24" fmla="*/ 0 w 317"/>
                  <a:gd name="T25" fmla="*/ 0 h 147"/>
                  <a:gd name="T26" fmla="*/ 0 w 317"/>
                  <a:gd name="T27" fmla="*/ 0 h 147"/>
                  <a:gd name="T28" fmla="*/ 0 w 317"/>
                  <a:gd name="T29" fmla="*/ 0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7"/>
                  <a:gd name="T46" fmla="*/ 0 h 147"/>
                  <a:gd name="T47" fmla="*/ 317 w 317"/>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7" h="147">
                    <a:moveTo>
                      <a:pt x="43" y="95"/>
                    </a:moveTo>
                    <a:lnTo>
                      <a:pt x="0" y="120"/>
                    </a:lnTo>
                    <a:lnTo>
                      <a:pt x="0" y="147"/>
                    </a:lnTo>
                    <a:lnTo>
                      <a:pt x="64" y="130"/>
                    </a:lnTo>
                    <a:lnTo>
                      <a:pt x="106" y="95"/>
                    </a:lnTo>
                    <a:lnTo>
                      <a:pt x="175" y="95"/>
                    </a:lnTo>
                    <a:lnTo>
                      <a:pt x="223" y="58"/>
                    </a:lnTo>
                    <a:lnTo>
                      <a:pt x="285" y="29"/>
                    </a:lnTo>
                    <a:lnTo>
                      <a:pt x="317" y="0"/>
                    </a:lnTo>
                    <a:lnTo>
                      <a:pt x="205" y="40"/>
                    </a:lnTo>
                    <a:lnTo>
                      <a:pt x="186" y="62"/>
                    </a:lnTo>
                    <a:lnTo>
                      <a:pt x="131" y="68"/>
                    </a:lnTo>
                    <a:lnTo>
                      <a:pt x="83" y="87"/>
                    </a:lnTo>
                    <a:lnTo>
                      <a:pt x="43" y="95"/>
                    </a:lnTo>
                    <a:close/>
                  </a:path>
                </a:pathLst>
              </a:custGeom>
              <a:solidFill>
                <a:srgbClr val="FFFFFF"/>
              </a:solidFill>
              <a:ln w="9525">
                <a:noFill/>
                <a:round/>
                <a:headEnd/>
                <a:tailEnd/>
              </a:ln>
            </p:spPr>
            <p:txBody>
              <a:bodyPr/>
              <a:lstStyle/>
              <a:p>
                <a:endParaRPr lang="fr-FR"/>
              </a:p>
            </p:txBody>
          </p:sp>
          <p:sp>
            <p:nvSpPr>
              <p:cNvPr id="11299" name="Freeform 1041"/>
              <p:cNvSpPr>
                <a:spLocks/>
              </p:cNvSpPr>
              <p:nvPr/>
            </p:nvSpPr>
            <p:spPr bwMode="auto">
              <a:xfrm>
                <a:off x="3908" y="1842"/>
                <a:ext cx="10" cy="21"/>
              </a:xfrm>
              <a:custGeom>
                <a:avLst/>
                <a:gdLst>
                  <a:gd name="T0" fmla="*/ 0 w 31"/>
                  <a:gd name="T1" fmla="*/ 0 h 61"/>
                  <a:gd name="T2" fmla="*/ 0 w 31"/>
                  <a:gd name="T3" fmla="*/ 0 h 61"/>
                  <a:gd name="T4" fmla="*/ 0 w 31"/>
                  <a:gd name="T5" fmla="*/ 0 h 61"/>
                  <a:gd name="T6" fmla="*/ 0 w 31"/>
                  <a:gd name="T7" fmla="*/ 0 h 61"/>
                  <a:gd name="T8" fmla="*/ 0 w 31"/>
                  <a:gd name="T9" fmla="*/ 0 h 61"/>
                  <a:gd name="T10" fmla="*/ 0 w 31"/>
                  <a:gd name="T11" fmla="*/ 0 h 61"/>
                  <a:gd name="T12" fmla="*/ 0 60000 65536"/>
                  <a:gd name="T13" fmla="*/ 0 60000 65536"/>
                  <a:gd name="T14" fmla="*/ 0 60000 65536"/>
                  <a:gd name="T15" fmla="*/ 0 60000 65536"/>
                  <a:gd name="T16" fmla="*/ 0 60000 65536"/>
                  <a:gd name="T17" fmla="*/ 0 60000 65536"/>
                  <a:gd name="T18" fmla="*/ 0 w 31"/>
                  <a:gd name="T19" fmla="*/ 0 h 61"/>
                  <a:gd name="T20" fmla="*/ 31 w 31"/>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31" h="61">
                    <a:moveTo>
                      <a:pt x="25" y="0"/>
                    </a:moveTo>
                    <a:lnTo>
                      <a:pt x="0" y="21"/>
                    </a:lnTo>
                    <a:lnTo>
                      <a:pt x="6" y="61"/>
                    </a:lnTo>
                    <a:lnTo>
                      <a:pt x="31" y="53"/>
                    </a:lnTo>
                    <a:lnTo>
                      <a:pt x="25" y="0"/>
                    </a:lnTo>
                    <a:close/>
                  </a:path>
                </a:pathLst>
              </a:custGeom>
              <a:solidFill>
                <a:srgbClr val="FFFFFF"/>
              </a:solidFill>
              <a:ln w="9525">
                <a:noFill/>
                <a:round/>
                <a:headEnd/>
                <a:tailEnd/>
              </a:ln>
            </p:spPr>
            <p:txBody>
              <a:bodyPr/>
              <a:lstStyle/>
              <a:p>
                <a:endParaRPr lang="fr-FR"/>
              </a:p>
            </p:txBody>
          </p:sp>
          <p:sp>
            <p:nvSpPr>
              <p:cNvPr id="11300" name="Freeform 1042"/>
              <p:cNvSpPr>
                <a:spLocks/>
              </p:cNvSpPr>
              <p:nvPr/>
            </p:nvSpPr>
            <p:spPr bwMode="auto">
              <a:xfrm>
                <a:off x="3896" y="1870"/>
                <a:ext cx="7" cy="11"/>
              </a:xfrm>
              <a:custGeom>
                <a:avLst/>
                <a:gdLst>
                  <a:gd name="T0" fmla="*/ 0 w 22"/>
                  <a:gd name="T1" fmla="*/ 0 h 33"/>
                  <a:gd name="T2" fmla="*/ 0 w 22"/>
                  <a:gd name="T3" fmla="*/ 0 h 33"/>
                  <a:gd name="T4" fmla="*/ 0 w 22"/>
                  <a:gd name="T5" fmla="*/ 0 h 33"/>
                  <a:gd name="T6" fmla="*/ 0 w 22"/>
                  <a:gd name="T7" fmla="*/ 0 h 33"/>
                  <a:gd name="T8" fmla="*/ 0 w 22"/>
                  <a:gd name="T9" fmla="*/ 0 h 33"/>
                  <a:gd name="T10" fmla="*/ 0 w 22"/>
                  <a:gd name="T11" fmla="*/ 0 h 33"/>
                  <a:gd name="T12" fmla="*/ 0 60000 65536"/>
                  <a:gd name="T13" fmla="*/ 0 60000 65536"/>
                  <a:gd name="T14" fmla="*/ 0 60000 65536"/>
                  <a:gd name="T15" fmla="*/ 0 60000 65536"/>
                  <a:gd name="T16" fmla="*/ 0 60000 65536"/>
                  <a:gd name="T17" fmla="*/ 0 60000 65536"/>
                  <a:gd name="T18" fmla="*/ 0 w 22"/>
                  <a:gd name="T19" fmla="*/ 0 h 33"/>
                  <a:gd name="T20" fmla="*/ 22 w 2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2" h="33">
                    <a:moveTo>
                      <a:pt x="6" y="0"/>
                    </a:moveTo>
                    <a:lnTo>
                      <a:pt x="0" y="10"/>
                    </a:lnTo>
                    <a:lnTo>
                      <a:pt x="6" y="33"/>
                    </a:lnTo>
                    <a:lnTo>
                      <a:pt x="22" y="25"/>
                    </a:lnTo>
                    <a:lnTo>
                      <a:pt x="6" y="0"/>
                    </a:lnTo>
                    <a:close/>
                  </a:path>
                </a:pathLst>
              </a:custGeom>
              <a:solidFill>
                <a:srgbClr val="FFFFFF"/>
              </a:solidFill>
              <a:ln w="9525">
                <a:noFill/>
                <a:round/>
                <a:headEnd/>
                <a:tailEnd/>
              </a:ln>
            </p:spPr>
            <p:txBody>
              <a:bodyPr/>
              <a:lstStyle/>
              <a:p>
                <a:endParaRPr lang="fr-FR"/>
              </a:p>
            </p:txBody>
          </p:sp>
          <p:sp>
            <p:nvSpPr>
              <p:cNvPr id="11301" name="Freeform 1043"/>
              <p:cNvSpPr>
                <a:spLocks/>
              </p:cNvSpPr>
              <p:nvPr/>
            </p:nvSpPr>
            <p:spPr bwMode="auto">
              <a:xfrm>
                <a:off x="4515" y="1631"/>
                <a:ext cx="9" cy="9"/>
              </a:xfrm>
              <a:custGeom>
                <a:avLst/>
                <a:gdLst>
                  <a:gd name="T0" fmla="*/ 0 w 27"/>
                  <a:gd name="T1" fmla="*/ 0 h 27"/>
                  <a:gd name="T2" fmla="*/ 0 w 27"/>
                  <a:gd name="T3" fmla="*/ 0 h 27"/>
                  <a:gd name="T4" fmla="*/ 0 w 27"/>
                  <a:gd name="T5" fmla="*/ 0 h 27"/>
                  <a:gd name="T6" fmla="*/ 0 w 27"/>
                  <a:gd name="T7" fmla="*/ 0 h 27"/>
                  <a:gd name="T8" fmla="*/ 0 w 27"/>
                  <a:gd name="T9" fmla="*/ 0 h 27"/>
                  <a:gd name="T10" fmla="*/ 0 w 27"/>
                  <a:gd name="T11" fmla="*/ 0 h 27"/>
                  <a:gd name="T12" fmla="*/ 0 60000 65536"/>
                  <a:gd name="T13" fmla="*/ 0 60000 65536"/>
                  <a:gd name="T14" fmla="*/ 0 60000 65536"/>
                  <a:gd name="T15" fmla="*/ 0 60000 65536"/>
                  <a:gd name="T16" fmla="*/ 0 60000 65536"/>
                  <a:gd name="T17" fmla="*/ 0 60000 65536"/>
                  <a:gd name="T18" fmla="*/ 0 w 27"/>
                  <a:gd name="T19" fmla="*/ 0 h 27"/>
                  <a:gd name="T20" fmla="*/ 27 w 2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7" h="27">
                    <a:moveTo>
                      <a:pt x="27" y="0"/>
                    </a:moveTo>
                    <a:lnTo>
                      <a:pt x="3" y="0"/>
                    </a:lnTo>
                    <a:lnTo>
                      <a:pt x="0" y="27"/>
                    </a:lnTo>
                    <a:lnTo>
                      <a:pt x="27" y="11"/>
                    </a:lnTo>
                    <a:lnTo>
                      <a:pt x="27" y="0"/>
                    </a:lnTo>
                    <a:close/>
                  </a:path>
                </a:pathLst>
              </a:custGeom>
              <a:solidFill>
                <a:srgbClr val="FFFFFF"/>
              </a:solidFill>
              <a:ln w="9525">
                <a:noFill/>
                <a:round/>
                <a:headEnd/>
                <a:tailEnd/>
              </a:ln>
            </p:spPr>
            <p:txBody>
              <a:bodyPr/>
              <a:lstStyle/>
              <a:p>
                <a:endParaRPr lang="fr-FR"/>
              </a:p>
            </p:txBody>
          </p:sp>
          <p:sp>
            <p:nvSpPr>
              <p:cNvPr id="11302" name="Freeform 1044"/>
              <p:cNvSpPr>
                <a:spLocks/>
              </p:cNvSpPr>
              <p:nvPr/>
            </p:nvSpPr>
            <p:spPr bwMode="auto">
              <a:xfrm>
                <a:off x="3889" y="1650"/>
                <a:ext cx="655" cy="391"/>
              </a:xfrm>
              <a:custGeom>
                <a:avLst/>
                <a:gdLst>
                  <a:gd name="T0" fmla="*/ 0 w 1965"/>
                  <a:gd name="T1" fmla="*/ 0 h 1175"/>
                  <a:gd name="T2" fmla="*/ 0 w 1965"/>
                  <a:gd name="T3" fmla="*/ 0 h 1175"/>
                  <a:gd name="T4" fmla="*/ 0 w 1965"/>
                  <a:gd name="T5" fmla="*/ 0 h 1175"/>
                  <a:gd name="T6" fmla="*/ 0 w 1965"/>
                  <a:gd name="T7" fmla="*/ 0 h 1175"/>
                  <a:gd name="T8" fmla="*/ 0 w 1965"/>
                  <a:gd name="T9" fmla="*/ 0 h 1175"/>
                  <a:gd name="T10" fmla="*/ 0 w 1965"/>
                  <a:gd name="T11" fmla="*/ 0 h 1175"/>
                  <a:gd name="T12" fmla="*/ 0 w 1965"/>
                  <a:gd name="T13" fmla="*/ 0 h 1175"/>
                  <a:gd name="T14" fmla="*/ 0 w 1965"/>
                  <a:gd name="T15" fmla="*/ 0 h 1175"/>
                  <a:gd name="T16" fmla="*/ 0 w 1965"/>
                  <a:gd name="T17" fmla="*/ 0 h 1175"/>
                  <a:gd name="T18" fmla="*/ 0 w 1965"/>
                  <a:gd name="T19" fmla="*/ 0 h 1175"/>
                  <a:gd name="T20" fmla="*/ 0 w 1965"/>
                  <a:gd name="T21" fmla="*/ 0 h 1175"/>
                  <a:gd name="T22" fmla="*/ 0 w 1965"/>
                  <a:gd name="T23" fmla="*/ 0 h 1175"/>
                  <a:gd name="T24" fmla="*/ 0 w 1965"/>
                  <a:gd name="T25" fmla="*/ 0 h 1175"/>
                  <a:gd name="T26" fmla="*/ 0 w 1965"/>
                  <a:gd name="T27" fmla="*/ 0 h 1175"/>
                  <a:gd name="T28" fmla="*/ 0 w 1965"/>
                  <a:gd name="T29" fmla="*/ 0 h 1175"/>
                  <a:gd name="T30" fmla="*/ 0 w 1965"/>
                  <a:gd name="T31" fmla="*/ 0 h 1175"/>
                  <a:gd name="T32" fmla="*/ 0 w 1965"/>
                  <a:gd name="T33" fmla="*/ 0 h 1175"/>
                  <a:gd name="T34" fmla="*/ 0 w 1965"/>
                  <a:gd name="T35" fmla="*/ 0 h 1175"/>
                  <a:gd name="T36" fmla="*/ 0 w 1965"/>
                  <a:gd name="T37" fmla="*/ 0 h 1175"/>
                  <a:gd name="T38" fmla="*/ 0 w 1965"/>
                  <a:gd name="T39" fmla="*/ 0 h 1175"/>
                  <a:gd name="T40" fmla="*/ 0 w 1965"/>
                  <a:gd name="T41" fmla="*/ 0 h 1175"/>
                  <a:gd name="T42" fmla="*/ 0 w 1965"/>
                  <a:gd name="T43" fmla="*/ 0 h 1175"/>
                  <a:gd name="T44" fmla="*/ 0 w 1965"/>
                  <a:gd name="T45" fmla="*/ 0 h 1175"/>
                  <a:gd name="T46" fmla="*/ 0 w 1965"/>
                  <a:gd name="T47" fmla="*/ 0 h 1175"/>
                  <a:gd name="T48" fmla="*/ 0 w 1965"/>
                  <a:gd name="T49" fmla="*/ 0 h 1175"/>
                  <a:gd name="T50" fmla="*/ 0 w 1965"/>
                  <a:gd name="T51" fmla="*/ 0 h 1175"/>
                  <a:gd name="T52" fmla="*/ 0 w 1965"/>
                  <a:gd name="T53" fmla="*/ 0 h 1175"/>
                  <a:gd name="T54" fmla="*/ 0 w 1965"/>
                  <a:gd name="T55" fmla="*/ 0 h 1175"/>
                  <a:gd name="T56" fmla="*/ 0 w 1965"/>
                  <a:gd name="T57" fmla="*/ 0 h 1175"/>
                  <a:gd name="T58" fmla="*/ 0 w 1965"/>
                  <a:gd name="T59" fmla="*/ 0 h 1175"/>
                  <a:gd name="T60" fmla="*/ 0 w 1965"/>
                  <a:gd name="T61" fmla="*/ 0 h 1175"/>
                  <a:gd name="T62" fmla="*/ 0 w 1965"/>
                  <a:gd name="T63" fmla="*/ 0 h 1175"/>
                  <a:gd name="T64" fmla="*/ 0 w 1965"/>
                  <a:gd name="T65" fmla="*/ 0 h 1175"/>
                  <a:gd name="T66" fmla="*/ 0 w 1965"/>
                  <a:gd name="T67" fmla="*/ 0 h 1175"/>
                  <a:gd name="T68" fmla="*/ 0 w 1965"/>
                  <a:gd name="T69" fmla="*/ 0 h 1175"/>
                  <a:gd name="T70" fmla="*/ 0 w 1965"/>
                  <a:gd name="T71" fmla="*/ 0 h 1175"/>
                  <a:gd name="T72" fmla="*/ 0 w 1965"/>
                  <a:gd name="T73" fmla="*/ 0 h 1175"/>
                  <a:gd name="T74" fmla="*/ 0 w 1965"/>
                  <a:gd name="T75" fmla="*/ 0 h 1175"/>
                  <a:gd name="T76" fmla="*/ 0 w 1965"/>
                  <a:gd name="T77" fmla="*/ 0 h 1175"/>
                  <a:gd name="T78" fmla="*/ 0 w 1965"/>
                  <a:gd name="T79" fmla="*/ 0 h 1175"/>
                  <a:gd name="T80" fmla="*/ 0 w 1965"/>
                  <a:gd name="T81" fmla="*/ 0 h 1175"/>
                  <a:gd name="T82" fmla="*/ 0 w 1965"/>
                  <a:gd name="T83" fmla="*/ 0 h 11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965"/>
                  <a:gd name="T127" fmla="*/ 0 h 1175"/>
                  <a:gd name="T128" fmla="*/ 1965 w 1965"/>
                  <a:gd name="T129" fmla="*/ 1175 h 11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965" h="1175">
                    <a:moveTo>
                      <a:pt x="1965" y="0"/>
                    </a:moveTo>
                    <a:lnTo>
                      <a:pt x="1958" y="73"/>
                    </a:lnTo>
                    <a:lnTo>
                      <a:pt x="1926" y="143"/>
                    </a:lnTo>
                    <a:lnTo>
                      <a:pt x="1891" y="168"/>
                    </a:lnTo>
                    <a:lnTo>
                      <a:pt x="1854" y="217"/>
                    </a:lnTo>
                    <a:lnTo>
                      <a:pt x="1785" y="252"/>
                    </a:lnTo>
                    <a:lnTo>
                      <a:pt x="1710" y="288"/>
                    </a:lnTo>
                    <a:lnTo>
                      <a:pt x="1628" y="342"/>
                    </a:lnTo>
                    <a:lnTo>
                      <a:pt x="1543" y="399"/>
                    </a:lnTo>
                    <a:lnTo>
                      <a:pt x="1485" y="425"/>
                    </a:lnTo>
                    <a:lnTo>
                      <a:pt x="1411" y="454"/>
                    </a:lnTo>
                    <a:lnTo>
                      <a:pt x="1322" y="466"/>
                    </a:lnTo>
                    <a:lnTo>
                      <a:pt x="1280" y="498"/>
                    </a:lnTo>
                    <a:lnTo>
                      <a:pt x="1169" y="524"/>
                    </a:lnTo>
                    <a:lnTo>
                      <a:pt x="1096" y="551"/>
                    </a:lnTo>
                    <a:lnTo>
                      <a:pt x="1016" y="582"/>
                    </a:lnTo>
                    <a:lnTo>
                      <a:pt x="952" y="609"/>
                    </a:lnTo>
                    <a:lnTo>
                      <a:pt x="900" y="609"/>
                    </a:lnTo>
                    <a:lnTo>
                      <a:pt x="842" y="603"/>
                    </a:lnTo>
                    <a:lnTo>
                      <a:pt x="784" y="639"/>
                    </a:lnTo>
                    <a:lnTo>
                      <a:pt x="722" y="639"/>
                    </a:lnTo>
                    <a:lnTo>
                      <a:pt x="700" y="682"/>
                    </a:lnTo>
                    <a:lnTo>
                      <a:pt x="657" y="708"/>
                    </a:lnTo>
                    <a:lnTo>
                      <a:pt x="594" y="734"/>
                    </a:lnTo>
                    <a:lnTo>
                      <a:pt x="567" y="814"/>
                    </a:lnTo>
                    <a:lnTo>
                      <a:pt x="515" y="870"/>
                    </a:lnTo>
                    <a:lnTo>
                      <a:pt x="515" y="955"/>
                    </a:lnTo>
                    <a:lnTo>
                      <a:pt x="527" y="1007"/>
                    </a:lnTo>
                    <a:lnTo>
                      <a:pt x="489" y="1044"/>
                    </a:lnTo>
                    <a:lnTo>
                      <a:pt x="495" y="1105"/>
                    </a:lnTo>
                    <a:lnTo>
                      <a:pt x="453" y="1170"/>
                    </a:lnTo>
                    <a:lnTo>
                      <a:pt x="383" y="1175"/>
                    </a:lnTo>
                    <a:lnTo>
                      <a:pt x="346" y="1148"/>
                    </a:lnTo>
                    <a:lnTo>
                      <a:pt x="290" y="1148"/>
                    </a:lnTo>
                    <a:lnTo>
                      <a:pt x="264" y="1105"/>
                    </a:lnTo>
                    <a:lnTo>
                      <a:pt x="209" y="1105"/>
                    </a:lnTo>
                    <a:lnTo>
                      <a:pt x="199" y="1086"/>
                    </a:lnTo>
                    <a:lnTo>
                      <a:pt x="157" y="1080"/>
                    </a:lnTo>
                    <a:lnTo>
                      <a:pt x="146" y="1055"/>
                    </a:lnTo>
                    <a:lnTo>
                      <a:pt x="108" y="1038"/>
                    </a:lnTo>
                    <a:lnTo>
                      <a:pt x="83" y="997"/>
                    </a:lnTo>
                    <a:lnTo>
                      <a:pt x="46" y="982"/>
                    </a:lnTo>
                    <a:lnTo>
                      <a:pt x="9" y="913"/>
                    </a:lnTo>
                    <a:lnTo>
                      <a:pt x="0" y="866"/>
                    </a:lnTo>
                    <a:lnTo>
                      <a:pt x="16" y="818"/>
                    </a:lnTo>
                    <a:lnTo>
                      <a:pt x="52" y="746"/>
                    </a:lnTo>
                    <a:lnTo>
                      <a:pt x="108" y="698"/>
                    </a:lnTo>
                    <a:lnTo>
                      <a:pt x="184" y="704"/>
                    </a:lnTo>
                    <a:lnTo>
                      <a:pt x="279" y="667"/>
                    </a:lnTo>
                    <a:lnTo>
                      <a:pt x="312" y="667"/>
                    </a:lnTo>
                    <a:lnTo>
                      <a:pt x="358" y="631"/>
                    </a:lnTo>
                    <a:lnTo>
                      <a:pt x="416" y="624"/>
                    </a:lnTo>
                    <a:lnTo>
                      <a:pt x="447" y="594"/>
                    </a:lnTo>
                    <a:lnTo>
                      <a:pt x="468" y="594"/>
                    </a:lnTo>
                    <a:lnTo>
                      <a:pt x="515" y="551"/>
                    </a:lnTo>
                    <a:lnTo>
                      <a:pt x="567" y="545"/>
                    </a:lnTo>
                    <a:lnTo>
                      <a:pt x="602" y="509"/>
                    </a:lnTo>
                    <a:lnTo>
                      <a:pt x="657" y="503"/>
                    </a:lnTo>
                    <a:lnTo>
                      <a:pt x="674" y="489"/>
                    </a:lnTo>
                    <a:lnTo>
                      <a:pt x="759" y="477"/>
                    </a:lnTo>
                    <a:lnTo>
                      <a:pt x="805" y="454"/>
                    </a:lnTo>
                    <a:lnTo>
                      <a:pt x="830" y="410"/>
                    </a:lnTo>
                    <a:lnTo>
                      <a:pt x="830" y="342"/>
                    </a:lnTo>
                    <a:lnTo>
                      <a:pt x="853" y="278"/>
                    </a:lnTo>
                    <a:lnTo>
                      <a:pt x="900" y="246"/>
                    </a:lnTo>
                    <a:lnTo>
                      <a:pt x="985" y="232"/>
                    </a:lnTo>
                    <a:lnTo>
                      <a:pt x="1074" y="238"/>
                    </a:lnTo>
                    <a:lnTo>
                      <a:pt x="1107" y="238"/>
                    </a:lnTo>
                    <a:lnTo>
                      <a:pt x="1159" y="217"/>
                    </a:lnTo>
                    <a:lnTo>
                      <a:pt x="1236" y="232"/>
                    </a:lnTo>
                    <a:lnTo>
                      <a:pt x="1285" y="205"/>
                    </a:lnTo>
                    <a:lnTo>
                      <a:pt x="1355" y="195"/>
                    </a:lnTo>
                    <a:lnTo>
                      <a:pt x="1442" y="209"/>
                    </a:lnTo>
                    <a:lnTo>
                      <a:pt x="1479" y="238"/>
                    </a:lnTo>
                    <a:lnTo>
                      <a:pt x="1525" y="232"/>
                    </a:lnTo>
                    <a:lnTo>
                      <a:pt x="1558" y="205"/>
                    </a:lnTo>
                    <a:lnTo>
                      <a:pt x="1607" y="195"/>
                    </a:lnTo>
                    <a:lnTo>
                      <a:pt x="1647" y="163"/>
                    </a:lnTo>
                    <a:lnTo>
                      <a:pt x="1702" y="153"/>
                    </a:lnTo>
                    <a:lnTo>
                      <a:pt x="1742" y="120"/>
                    </a:lnTo>
                    <a:lnTo>
                      <a:pt x="1802" y="105"/>
                    </a:lnTo>
                    <a:lnTo>
                      <a:pt x="1880" y="58"/>
                    </a:lnTo>
                    <a:lnTo>
                      <a:pt x="1922" y="10"/>
                    </a:lnTo>
                    <a:lnTo>
                      <a:pt x="1965" y="0"/>
                    </a:lnTo>
                    <a:close/>
                  </a:path>
                </a:pathLst>
              </a:custGeom>
              <a:solidFill>
                <a:srgbClr val="515151"/>
              </a:solidFill>
              <a:ln w="9525">
                <a:noFill/>
                <a:round/>
                <a:headEnd/>
                <a:tailEnd/>
              </a:ln>
            </p:spPr>
            <p:txBody>
              <a:bodyPr/>
              <a:lstStyle/>
              <a:p>
                <a:endParaRPr lang="fr-FR"/>
              </a:p>
            </p:txBody>
          </p:sp>
          <p:sp>
            <p:nvSpPr>
              <p:cNvPr id="11303" name="Freeform 1045"/>
              <p:cNvSpPr>
                <a:spLocks/>
              </p:cNvSpPr>
              <p:nvPr/>
            </p:nvSpPr>
            <p:spPr bwMode="auto">
              <a:xfrm>
                <a:off x="3845" y="1686"/>
                <a:ext cx="653" cy="294"/>
              </a:xfrm>
              <a:custGeom>
                <a:avLst/>
                <a:gdLst>
                  <a:gd name="T0" fmla="*/ 0 w 1959"/>
                  <a:gd name="T1" fmla="*/ 0 h 881"/>
                  <a:gd name="T2" fmla="*/ 0 w 1959"/>
                  <a:gd name="T3" fmla="*/ 0 h 881"/>
                  <a:gd name="T4" fmla="*/ 0 w 1959"/>
                  <a:gd name="T5" fmla="*/ 0 h 881"/>
                  <a:gd name="T6" fmla="*/ 0 w 1959"/>
                  <a:gd name="T7" fmla="*/ 0 h 881"/>
                  <a:gd name="T8" fmla="*/ 0 w 1959"/>
                  <a:gd name="T9" fmla="*/ 0 h 881"/>
                  <a:gd name="T10" fmla="*/ 0 w 1959"/>
                  <a:gd name="T11" fmla="*/ 0 h 881"/>
                  <a:gd name="T12" fmla="*/ 0 w 1959"/>
                  <a:gd name="T13" fmla="*/ 0 h 881"/>
                  <a:gd name="T14" fmla="*/ 0 w 1959"/>
                  <a:gd name="T15" fmla="*/ 0 h 881"/>
                  <a:gd name="T16" fmla="*/ 0 w 1959"/>
                  <a:gd name="T17" fmla="*/ 0 h 881"/>
                  <a:gd name="T18" fmla="*/ 0 w 1959"/>
                  <a:gd name="T19" fmla="*/ 0 h 881"/>
                  <a:gd name="T20" fmla="*/ 0 w 1959"/>
                  <a:gd name="T21" fmla="*/ 0 h 881"/>
                  <a:gd name="T22" fmla="*/ 0 w 1959"/>
                  <a:gd name="T23" fmla="*/ 0 h 881"/>
                  <a:gd name="T24" fmla="*/ 0 w 1959"/>
                  <a:gd name="T25" fmla="*/ 0 h 881"/>
                  <a:gd name="T26" fmla="*/ 0 w 1959"/>
                  <a:gd name="T27" fmla="*/ 0 h 881"/>
                  <a:gd name="T28" fmla="*/ 0 w 1959"/>
                  <a:gd name="T29" fmla="*/ 0 h 881"/>
                  <a:gd name="T30" fmla="*/ 0 w 1959"/>
                  <a:gd name="T31" fmla="*/ 0 h 881"/>
                  <a:gd name="T32" fmla="*/ 0 w 1959"/>
                  <a:gd name="T33" fmla="*/ 0 h 881"/>
                  <a:gd name="T34" fmla="*/ 0 w 1959"/>
                  <a:gd name="T35" fmla="*/ 0 h 881"/>
                  <a:gd name="T36" fmla="*/ 0 w 1959"/>
                  <a:gd name="T37" fmla="*/ 0 h 881"/>
                  <a:gd name="T38" fmla="*/ 0 w 1959"/>
                  <a:gd name="T39" fmla="*/ 0 h 881"/>
                  <a:gd name="T40" fmla="*/ 0 w 1959"/>
                  <a:gd name="T41" fmla="*/ 0 h 881"/>
                  <a:gd name="T42" fmla="*/ 0 w 1959"/>
                  <a:gd name="T43" fmla="*/ 0 h 881"/>
                  <a:gd name="T44" fmla="*/ 0 w 1959"/>
                  <a:gd name="T45" fmla="*/ 0 h 881"/>
                  <a:gd name="T46" fmla="*/ 0 w 1959"/>
                  <a:gd name="T47" fmla="*/ 0 h 881"/>
                  <a:gd name="T48" fmla="*/ 0 w 1959"/>
                  <a:gd name="T49" fmla="*/ 0 h 881"/>
                  <a:gd name="T50" fmla="*/ 0 w 1959"/>
                  <a:gd name="T51" fmla="*/ 0 h 881"/>
                  <a:gd name="T52" fmla="*/ 0 w 1959"/>
                  <a:gd name="T53" fmla="*/ 0 h 881"/>
                  <a:gd name="T54" fmla="*/ 0 w 1959"/>
                  <a:gd name="T55" fmla="*/ 0 h 881"/>
                  <a:gd name="T56" fmla="*/ 0 w 1959"/>
                  <a:gd name="T57" fmla="*/ 0 h 881"/>
                  <a:gd name="T58" fmla="*/ 0 w 1959"/>
                  <a:gd name="T59" fmla="*/ 0 h 881"/>
                  <a:gd name="T60" fmla="*/ 0 w 1959"/>
                  <a:gd name="T61" fmla="*/ 0 h 881"/>
                  <a:gd name="T62" fmla="*/ 0 w 1959"/>
                  <a:gd name="T63" fmla="*/ 0 h 881"/>
                  <a:gd name="T64" fmla="*/ 0 w 1959"/>
                  <a:gd name="T65" fmla="*/ 0 h 881"/>
                  <a:gd name="T66" fmla="*/ 0 w 1959"/>
                  <a:gd name="T67" fmla="*/ 0 h 881"/>
                  <a:gd name="T68" fmla="*/ 0 w 1959"/>
                  <a:gd name="T69" fmla="*/ 0 h 881"/>
                  <a:gd name="T70" fmla="*/ 0 w 1959"/>
                  <a:gd name="T71" fmla="*/ 0 h 881"/>
                  <a:gd name="T72" fmla="*/ 0 w 1959"/>
                  <a:gd name="T73" fmla="*/ 0 h 881"/>
                  <a:gd name="T74" fmla="*/ 0 w 1959"/>
                  <a:gd name="T75" fmla="*/ 0 h 881"/>
                  <a:gd name="T76" fmla="*/ 0 w 1959"/>
                  <a:gd name="T77" fmla="*/ 0 h 881"/>
                  <a:gd name="T78" fmla="*/ 0 w 1959"/>
                  <a:gd name="T79" fmla="*/ 0 h 881"/>
                  <a:gd name="T80" fmla="*/ 0 w 1959"/>
                  <a:gd name="T81" fmla="*/ 0 h 881"/>
                  <a:gd name="T82" fmla="*/ 0 w 1959"/>
                  <a:gd name="T83" fmla="*/ 0 h 881"/>
                  <a:gd name="T84" fmla="*/ 0 w 1959"/>
                  <a:gd name="T85" fmla="*/ 0 h 881"/>
                  <a:gd name="T86" fmla="*/ 0 w 1959"/>
                  <a:gd name="T87" fmla="*/ 0 h 881"/>
                  <a:gd name="T88" fmla="*/ 0 w 1959"/>
                  <a:gd name="T89" fmla="*/ 0 h 8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59"/>
                  <a:gd name="T136" fmla="*/ 0 h 881"/>
                  <a:gd name="T137" fmla="*/ 1959 w 1959"/>
                  <a:gd name="T138" fmla="*/ 881 h 8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59" h="881">
                    <a:moveTo>
                      <a:pt x="0" y="750"/>
                    </a:moveTo>
                    <a:lnTo>
                      <a:pt x="148" y="713"/>
                    </a:lnTo>
                    <a:lnTo>
                      <a:pt x="227" y="682"/>
                    </a:lnTo>
                    <a:lnTo>
                      <a:pt x="238" y="640"/>
                    </a:lnTo>
                    <a:lnTo>
                      <a:pt x="252" y="671"/>
                    </a:lnTo>
                    <a:lnTo>
                      <a:pt x="337" y="646"/>
                    </a:lnTo>
                    <a:lnTo>
                      <a:pt x="447" y="594"/>
                    </a:lnTo>
                    <a:lnTo>
                      <a:pt x="569" y="536"/>
                    </a:lnTo>
                    <a:lnTo>
                      <a:pt x="616" y="509"/>
                    </a:lnTo>
                    <a:lnTo>
                      <a:pt x="673" y="468"/>
                    </a:lnTo>
                    <a:lnTo>
                      <a:pt x="769" y="429"/>
                    </a:lnTo>
                    <a:lnTo>
                      <a:pt x="873" y="393"/>
                    </a:lnTo>
                    <a:lnTo>
                      <a:pt x="991" y="362"/>
                    </a:lnTo>
                    <a:lnTo>
                      <a:pt x="1028" y="300"/>
                    </a:lnTo>
                    <a:lnTo>
                      <a:pt x="1037" y="330"/>
                    </a:lnTo>
                    <a:lnTo>
                      <a:pt x="1143" y="309"/>
                    </a:lnTo>
                    <a:lnTo>
                      <a:pt x="1347" y="267"/>
                    </a:lnTo>
                    <a:lnTo>
                      <a:pt x="1494" y="209"/>
                    </a:lnTo>
                    <a:lnTo>
                      <a:pt x="1654" y="157"/>
                    </a:lnTo>
                    <a:lnTo>
                      <a:pt x="1797" y="95"/>
                    </a:lnTo>
                    <a:lnTo>
                      <a:pt x="1868" y="70"/>
                    </a:lnTo>
                    <a:lnTo>
                      <a:pt x="1959" y="0"/>
                    </a:lnTo>
                    <a:lnTo>
                      <a:pt x="1834" y="116"/>
                    </a:lnTo>
                    <a:lnTo>
                      <a:pt x="1790" y="136"/>
                    </a:lnTo>
                    <a:lnTo>
                      <a:pt x="1790" y="153"/>
                    </a:lnTo>
                    <a:lnTo>
                      <a:pt x="1749" y="168"/>
                    </a:lnTo>
                    <a:lnTo>
                      <a:pt x="1686" y="200"/>
                    </a:lnTo>
                    <a:lnTo>
                      <a:pt x="1686" y="226"/>
                    </a:lnTo>
                    <a:lnTo>
                      <a:pt x="1644" y="205"/>
                    </a:lnTo>
                    <a:lnTo>
                      <a:pt x="1558" y="232"/>
                    </a:lnTo>
                    <a:lnTo>
                      <a:pt x="1558" y="263"/>
                    </a:lnTo>
                    <a:lnTo>
                      <a:pt x="1490" y="252"/>
                    </a:lnTo>
                    <a:lnTo>
                      <a:pt x="1438" y="289"/>
                    </a:lnTo>
                    <a:lnTo>
                      <a:pt x="1438" y="309"/>
                    </a:lnTo>
                    <a:lnTo>
                      <a:pt x="1396" y="309"/>
                    </a:lnTo>
                    <a:lnTo>
                      <a:pt x="1295" y="327"/>
                    </a:lnTo>
                    <a:lnTo>
                      <a:pt x="1295" y="373"/>
                    </a:lnTo>
                    <a:lnTo>
                      <a:pt x="1246" y="341"/>
                    </a:lnTo>
                    <a:lnTo>
                      <a:pt x="1072" y="388"/>
                    </a:lnTo>
                    <a:lnTo>
                      <a:pt x="1090" y="441"/>
                    </a:lnTo>
                    <a:lnTo>
                      <a:pt x="1028" y="388"/>
                    </a:lnTo>
                    <a:lnTo>
                      <a:pt x="970" y="422"/>
                    </a:lnTo>
                    <a:lnTo>
                      <a:pt x="980" y="456"/>
                    </a:lnTo>
                    <a:lnTo>
                      <a:pt x="921" y="435"/>
                    </a:lnTo>
                    <a:lnTo>
                      <a:pt x="863" y="441"/>
                    </a:lnTo>
                    <a:lnTo>
                      <a:pt x="806" y="468"/>
                    </a:lnTo>
                    <a:lnTo>
                      <a:pt x="794" y="509"/>
                    </a:lnTo>
                    <a:lnTo>
                      <a:pt x="811" y="524"/>
                    </a:lnTo>
                    <a:lnTo>
                      <a:pt x="806" y="557"/>
                    </a:lnTo>
                    <a:lnTo>
                      <a:pt x="774" y="524"/>
                    </a:lnTo>
                    <a:lnTo>
                      <a:pt x="747" y="499"/>
                    </a:lnTo>
                    <a:lnTo>
                      <a:pt x="685" y="514"/>
                    </a:lnTo>
                    <a:lnTo>
                      <a:pt x="655" y="541"/>
                    </a:lnTo>
                    <a:lnTo>
                      <a:pt x="670" y="588"/>
                    </a:lnTo>
                    <a:lnTo>
                      <a:pt x="685" y="631"/>
                    </a:lnTo>
                    <a:lnTo>
                      <a:pt x="647" y="584"/>
                    </a:lnTo>
                    <a:lnTo>
                      <a:pt x="627" y="598"/>
                    </a:lnTo>
                    <a:lnTo>
                      <a:pt x="616" y="624"/>
                    </a:lnTo>
                    <a:lnTo>
                      <a:pt x="621" y="661"/>
                    </a:lnTo>
                    <a:lnTo>
                      <a:pt x="600" y="665"/>
                    </a:lnTo>
                    <a:lnTo>
                      <a:pt x="564" y="723"/>
                    </a:lnTo>
                    <a:lnTo>
                      <a:pt x="526" y="766"/>
                    </a:lnTo>
                    <a:lnTo>
                      <a:pt x="496" y="796"/>
                    </a:lnTo>
                    <a:lnTo>
                      <a:pt x="490" y="823"/>
                    </a:lnTo>
                    <a:lnTo>
                      <a:pt x="474" y="793"/>
                    </a:lnTo>
                    <a:lnTo>
                      <a:pt x="416" y="818"/>
                    </a:lnTo>
                    <a:lnTo>
                      <a:pt x="399" y="876"/>
                    </a:lnTo>
                    <a:lnTo>
                      <a:pt x="389" y="830"/>
                    </a:lnTo>
                    <a:lnTo>
                      <a:pt x="285" y="850"/>
                    </a:lnTo>
                    <a:lnTo>
                      <a:pt x="221" y="833"/>
                    </a:lnTo>
                    <a:lnTo>
                      <a:pt x="175" y="881"/>
                    </a:lnTo>
                    <a:lnTo>
                      <a:pt x="132" y="830"/>
                    </a:lnTo>
                    <a:lnTo>
                      <a:pt x="178" y="786"/>
                    </a:lnTo>
                    <a:lnTo>
                      <a:pt x="233" y="719"/>
                    </a:lnTo>
                    <a:lnTo>
                      <a:pt x="248" y="713"/>
                    </a:lnTo>
                    <a:lnTo>
                      <a:pt x="238" y="803"/>
                    </a:lnTo>
                    <a:lnTo>
                      <a:pt x="300" y="818"/>
                    </a:lnTo>
                    <a:lnTo>
                      <a:pt x="389" y="803"/>
                    </a:lnTo>
                    <a:lnTo>
                      <a:pt x="459" y="766"/>
                    </a:lnTo>
                    <a:lnTo>
                      <a:pt x="437" y="746"/>
                    </a:lnTo>
                    <a:lnTo>
                      <a:pt x="496" y="741"/>
                    </a:lnTo>
                    <a:lnTo>
                      <a:pt x="521" y="723"/>
                    </a:lnTo>
                    <a:lnTo>
                      <a:pt x="558" y="671"/>
                    </a:lnTo>
                    <a:lnTo>
                      <a:pt x="575" y="631"/>
                    </a:lnTo>
                    <a:lnTo>
                      <a:pt x="575" y="572"/>
                    </a:lnTo>
                    <a:lnTo>
                      <a:pt x="463" y="613"/>
                    </a:lnTo>
                    <a:lnTo>
                      <a:pt x="285" y="682"/>
                    </a:lnTo>
                    <a:lnTo>
                      <a:pt x="196" y="713"/>
                    </a:lnTo>
                    <a:lnTo>
                      <a:pt x="4" y="772"/>
                    </a:lnTo>
                    <a:lnTo>
                      <a:pt x="0" y="750"/>
                    </a:lnTo>
                    <a:close/>
                  </a:path>
                </a:pathLst>
              </a:custGeom>
              <a:solidFill>
                <a:srgbClr val="FFFFFF"/>
              </a:solidFill>
              <a:ln w="9525">
                <a:noFill/>
                <a:round/>
                <a:headEnd/>
                <a:tailEnd/>
              </a:ln>
            </p:spPr>
            <p:txBody>
              <a:bodyPr/>
              <a:lstStyle/>
              <a:p>
                <a:endParaRPr lang="fr-FR"/>
              </a:p>
            </p:txBody>
          </p:sp>
          <p:sp>
            <p:nvSpPr>
              <p:cNvPr id="11304" name="Freeform 1046"/>
              <p:cNvSpPr>
                <a:spLocks/>
              </p:cNvSpPr>
              <p:nvPr/>
            </p:nvSpPr>
            <p:spPr bwMode="auto">
              <a:xfrm>
                <a:off x="3858" y="1835"/>
                <a:ext cx="43" cy="96"/>
              </a:xfrm>
              <a:custGeom>
                <a:avLst/>
                <a:gdLst>
                  <a:gd name="T0" fmla="*/ 0 w 127"/>
                  <a:gd name="T1" fmla="*/ 0 h 288"/>
                  <a:gd name="T2" fmla="*/ 0 w 127"/>
                  <a:gd name="T3" fmla="*/ 0 h 288"/>
                  <a:gd name="T4" fmla="*/ 0 w 127"/>
                  <a:gd name="T5" fmla="*/ 0 h 288"/>
                  <a:gd name="T6" fmla="*/ 0 w 127"/>
                  <a:gd name="T7" fmla="*/ 0 h 288"/>
                  <a:gd name="T8" fmla="*/ 0 w 127"/>
                  <a:gd name="T9" fmla="*/ 0 h 288"/>
                  <a:gd name="T10" fmla="*/ 0 w 127"/>
                  <a:gd name="T11" fmla="*/ 0 h 288"/>
                  <a:gd name="T12" fmla="*/ 0 w 127"/>
                  <a:gd name="T13" fmla="*/ 0 h 288"/>
                  <a:gd name="T14" fmla="*/ 0 w 127"/>
                  <a:gd name="T15" fmla="*/ 0 h 288"/>
                  <a:gd name="T16" fmla="*/ 0 w 127"/>
                  <a:gd name="T17" fmla="*/ 0 h 288"/>
                  <a:gd name="T18" fmla="*/ 0 w 127"/>
                  <a:gd name="T19" fmla="*/ 0 h 288"/>
                  <a:gd name="T20" fmla="*/ 0 w 127"/>
                  <a:gd name="T21" fmla="*/ 0 h 288"/>
                  <a:gd name="T22" fmla="*/ 0 w 127"/>
                  <a:gd name="T23" fmla="*/ 0 h 28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7"/>
                  <a:gd name="T37" fmla="*/ 0 h 288"/>
                  <a:gd name="T38" fmla="*/ 127 w 127"/>
                  <a:gd name="T39" fmla="*/ 288 h 28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7" h="288">
                    <a:moveTo>
                      <a:pt x="127" y="37"/>
                    </a:moveTo>
                    <a:lnTo>
                      <a:pt x="79" y="125"/>
                    </a:lnTo>
                    <a:lnTo>
                      <a:pt x="64" y="199"/>
                    </a:lnTo>
                    <a:lnTo>
                      <a:pt x="64" y="272"/>
                    </a:lnTo>
                    <a:lnTo>
                      <a:pt x="17" y="288"/>
                    </a:lnTo>
                    <a:lnTo>
                      <a:pt x="0" y="247"/>
                    </a:lnTo>
                    <a:lnTo>
                      <a:pt x="8" y="193"/>
                    </a:lnTo>
                    <a:lnTo>
                      <a:pt x="33" y="110"/>
                    </a:lnTo>
                    <a:lnTo>
                      <a:pt x="58" y="52"/>
                    </a:lnTo>
                    <a:lnTo>
                      <a:pt x="96" y="0"/>
                    </a:lnTo>
                    <a:lnTo>
                      <a:pt x="127" y="37"/>
                    </a:lnTo>
                    <a:close/>
                  </a:path>
                </a:pathLst>
              </a:custGeom>
              <a:solidFill>
                <a:srgbClr val="FFA9A9"/>
              </a:solidFill>
              <a:ln w="9525">
                <a:noFill/>
                <a:round/>
                <a:headEnd/>
                <a:tailEnd/>
              </a:ln>
            </p:spPr>
            <p:txBody>
              <a:bodyPr/>
              <a:lstStyle/>
              <a:p>
                <a:endParaRPr lang="fr-FR"/>
              </a:p>
            </p:txBody>
          </p:sp>
          <p:sp>
            <p:nvSpPr>
              <p:cNvPr id="11305" name="Freeform 1047"/>
              <p:cNvSpPr>
                <a:spLocks/>
              </p:cNvSpPr>
              <p:nvPr/>
            </p:nvSpPr>
            <p:spPr bwMode="auto">
              <a:xfrm>
                <a:off x="3844" y="1872"/>
                <a:ext cx="196" cy="75"/>
              </a:xfrm>
              <a:custGeom>
                <a:avLst/>
                <a:gdLst>
                  <a:gd name="T0" fmla="*/ 0 w 587"/>
                  <a:gd name="T1" fmla="*/ 0 h 224"/>
                  <a:gd name="T2" fmla="*/ 0 w 587"/>
                  <a:gd name="T3" fmla="*/ 0 h 224"/>
                  <a:gd name="T4" fmla="*/ 0 w 587"/>
                  <a:gd name="T5" fmla="*/ 0 h 224"/>
                  <a:gd name="T6" fmla="*/ 0 w 587"/>
                  <a:gd name="T7" fmla="*/ 0 h 224"/>
                  <a:gd name="T8" fmla="*/ 0 w 587"/>
                  <a:gd name="T9" fmla="*/ 0 h 224"/>
                  <a:gd name="T10" fmla="*/ 0 w 587"/>
                  <a:gd name="T11" fmla="*/ 0 h 224"/>
                  <a:gd name="T12" fmla="*/ 0 w 587"/>
                  <a:gd name="T13" fmla="*/ 0 h 224"/>
                  <a:gd name="T14" fmla="*/ 0 w 587"/>
                  <a:gd name="T15" fmla="*/ 0 h 224"/>
                  <a:gd name="T16" fmla="*/ 0 w 587"/>
                  <a:gd name="T17" fmla="*/ 0 h 224"/>
                  <a:gd name="T18" fmla="*/ 0 w 587"/>
                  <a:gd name="T19" fmla="*/ 0 h 224"/>
                  <a:gd name="T20" fmla="*/ 0 w 587"/>
                  <a:gd name="T21" fmla="*/ 0 h 224"/>
                  <a:gd name="T22" fmla="*/ 0 w 587"/>
                  <a:gd name="T23" fmla="*/ 0 h 224"/>
                  <a:gd name="T24" fmla="*/ 0 w 587"/>
                  <a:gd name="T25" fmla="*/ 0 h 224"/>
                  <a:gd name="T26" fmla="*/ 0 w 587"/>
                  <a:gd name="T27" fmla="*/ 0 h 224"/>
                  <a:gd name="T28" fmla="*/ 0 w 587"/>
                  <a:gd name="T29" fmla="*/ 0 h 224"/>
                  <a:gd name="T30" fmla="*/ 0 w 587"/>
                  <a:gd name="T31" fmla="*/ 0 h 224"/>
                  <a:gd name="T32" fmla="*/ 0 w 587"/>
                  <a:gd name="T33" fmla="*/ 0 h 224"/>
                  <a:gd name="T34" fmla="*/ 0 w 587"/>
                  <a:gd name="T35" fmla="*/ 0 h 224"/>
                  <a:gd name="T36" fmla="*/ 0 w 587"/>
                  <a:gd name="T37" fmla="*/ 0 h 224"/>
                  <a:gd name="T38" fmla="*/ 0 w 587"/>
                  <a:gd name="T39" fmla="*/ 0 h 224"/>
                  <a:gd name="T40" fmla="*/ 0 w 587"/>
                  <a:gd name="T41" fmla="*/ 0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87"/>
                  <a:gd name="T64" fmla="*/ 0 h 224"/>
                  <a:gd name="T65" fmla="*/ 587 w 58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87" h="224">
                    <a:moveTo>
                      <a:pt x="0" y="218"/>
                    </a:moveTo>
                    <a:lnTo>
                      <a:pt x="155" y="166"/>
                    </a:lnTo>
                    <a:lnTo>
                      <a:pt x="262" y="138"/>
                    </a:lnTo>
                    <a:lnTo>
                      <a:pt x="342" y="104"/>
                    </a:lnTo>
                    <a:lnTo>
                      <a:pt x="441" y="62"/>
                    </a:lnTo>
                    <a:lnTo>
                      <a:pt x="587" y="0"/>
                    </a:lnTo>
                    <a:lnTo>
                      <a:pt x="587" y="33"/>
                    </a:lnTo>
                    <a:lnTo>
                      <a:pt x="574" y="98"/>
                    </a:lnTo>
                    <a:lnTo>
                      <a:pt x="540" y="150"/>
                    </a:lnTo>
                    <a:lnTo>
                      <a:pt x="505" y="189"/>
                    </a:lnTo>
                    <a:lnTo>
                      <a:pt x="418" y="189"/>
                    </a:lnTo>
                    <a:lnTo>
                      <a:pt x="505" y="184"/>
                    </a:lnTo>
                    <a:lnTo>
                      <a:pt x="540" y="142"/>
                    </a:lnTo>
                    <a:lnTo>
                      <a:pt x="563" y="104"/>
                    </a:lnTo>
                    <a:lnTo>
                      <a:pt x="571" y="74"/>
                    </a:lnTo>
                    <a:lnTo>
                      <a:pt x="571" y="21"/>
                    </a:lnTo>
                    <a:lnTo>
                      <a:pt x="366" y="108"/>
                    </a:lnTo>
                    <a:lnTo>
                      <a:pt x="250" y="150"/>
                    </a:lnTo>
                    <a:lnTo>
                      <a:pt x="5" y="224"/>
                    </a:lnTo>
                    <a:lnTo>
                      <a:pt x="0" y="218"/>
                    </a:lnTo>
                    <a:close/>
                  </a:path>
                </a:pathLst>
              </a:custGeom>
              <a:solidFill>
                <a:srgbClr val="000000"/>
              </a:solidFill>
              <a:ln w="9525">
                <a:noFill/>
                <a:round/>
                <a:headEnd/>
                <a:tailEnd/>
              </a:ln>
            </p:spPr>
            <p:txBody>
              <a:bodyPr/>
              <a:lstStyle/>
              <a:p>
                <a:endParaRPr lang="fr-FR"/>
              </a:p>
            </p:txBody>
          </p:sp>
          <p:sp>
            <p:nvSpPr>
              <p:cNvPr id="11306" name="Freeform 1048"/>
              <p:cNvSpPr>
                <a:spLocks/>
              </p:cNvSpPr>
              <p:nvPr/>
            </p:nvSpPr>
            <p:spPr bwMode="auto">
              <a:xfrm>
                <a:off x="3908" y="1901"/>
                <a:ext cx="151" cy="119"/>
              </a:xfrm>
              <a:custGeom>
                <a:avLst/>
                <a:gdLst>
                  <a:gd name="T0" fmla="*/ 0 w 452"/>
                  <a:gd name="T1" fmla="*/ 0 h 355"/>
                  <a:gd name="T2" fmla="*/ 0 w 452"/>
                  <a:gd name="T3" fmla="*/ 0 h 355"/>
                  <a:gd name="T4" fmla="*/ 0 w 452"/>
                  <a:gd name="T5" fmla="*/ 0 h 355"/>
                  <a:gd name="T6" fmla="*/ 0 w 452"/>
                  <a:gd name="T7" fmla="*/ 0 h 355"/>
                  <a:gd name="T8" fmla="*/ 0 w 452"/>
                  <a:gd name="T9" fmla="*/ 0 h 355"/>
                  <a:gd name="T10" fmla="*/ 0 w 452"/>
                  <a:gd name="T11" fmla="*/ 0 h 355"/>
                  <a:gd name="T12" fmla="*/ 0 w 452"/>
                  <a:gd name="T13" fmla="*/ 0 h 355"/>
                  <a:gd name="T14" fmla="*/ 0 w 452"/>
                  <a:gd name="T15" fmla="*/ 0 h 355"/>
                  <a:gd name="T16" fmla="*/ 0 w 452"/>
                  <a:gd name="T17" fmla="*/ 0 h 355"/>
                  <a:gd name="T18" fmla="*/ 0 w 452"/>
                  <a:gd name="T19" fmla="*/ 0 h 355"/>
                  <a:gd name="T20" fmla="*/ 0 w 452"/>
                  <a:gd name="T21" fmla="*/ 0 h 355"/>
                  <a:gd name="T22" fmla="*/ 0 w 452"/>
                  <a:gd name="T23" fmla="*/ 0 h 355"/>
                  <a:gd name="T24" fmla="*/ 0 w 452"/>
                  <a:gd name="T25" fmla="*/ 0 h 355"/>
                  <a:gd name="T26" fmla="*/ 0 w 452"/>
                  <a:gd name="T27" fmla="*/ 0 h 355"/>
                  <a:gd name="T28" fmla="*/ 0 w 452"/>
                  <a:gd name="T29" fmla="*/ 0 h 355"/>
                  <a:gd name="T30" fmla="*/ 0 w 452"/>
                  <a:gd name="T31" fmla="*/ 0 h 355"/>
                  <a:gd name="T32" fmla="*/ 0 w 452"/>
                  <a:gd name="T33" fmla="*/ 0 h 355"/>
                  <a:gd name="T34" fmla="*/ 0 w 452"/>
                  <a:gd name="T35" fmla="*/ 0 h 355"/>
                  <a:gd name="T36" fmla="*/ 0 w 452"/>
                  <a:gd name="T37" fmla="*/ 0 h 355"/>
                  <a:gd name="T38" fmla="*/ 0 w 452"/>
                  <a:gd name="T39" fmla="*/ 0 h 355"/>
                  <a:gd name="T40" fmla="*/ 0 w 452"/>
                  <a:gd name="T41" fmla="*/ 0 h 355"/>
                  <a:gd name="T42" fmla="*/ 0 w 452"/>
                  <a:gd name="T43" fmla="*/ 0 h 355"/>
                  <a:gd name="T44" fmla="*/ 0 w 452"/>
                  <a:gd name="T45" fmla="*/ 0 h 355"/>
                  <a:gd name="T46" fmla="*/ 0 w 452"/>
                  <a:gd name="T47" fmla="*/ 0 h 355"/>
                  <a:gd name="T48" fmla="*/ 0 w 452"/>
                  <a:gd name="T49" fmla="*/ 0 h 355"/>
                  <a:gd name="T50" fmla="*/ 0 w 452"/>
                  <a:gd name="T51" fmla="*/ 0 h 355"/>
                  <a:gd name="T52" fmla="*/ 0 w 452"/>
                  <a:gd name="T53" fmla="*/ 0 h 355"/>
                  <a:gd name="T54" fmla="*/ 0 w 452"/>
                  <a:gd name="T55" fmla="*/ 0 h 355"/>
                  <a:gd name="T56" fmla="*/ 0 w 452"/>
                  <a:gd name="T57" fmla="*/ 0 h 355"/>
                  <a:gd name="T58" fmla="*/ 0 w 452"/>
                  <a:gd name="T59" fmla="*/ 0 h 355"/>
                  <a:gd name="T60" fmla="*/ 0 w 452"/>
                  <a:gd name="T61" fmla="*/ 0 h 355"/>
                  <a:gd name="T62" fmla="*/ 0 w 452"/>
                  <a:gd name="T63" fmla="*/ 0 h 355"/>
                  <a:gd name="T64" fmla="*/ 0 w 452"/>
                  <a:gd name="T65" fmla="*/ 0 h 355"/>
                  <a:gd name="T66" fmla="*/ 0 w 452"/>
                  <a:gd name="T67" fmla="*/ 0 h 355"/>
                  <a:gd name="T68" fmla="*/ 0 w 452"/>
                  <a:gd name="T69" fmla="*/ 0 h 355"/>
                  <a:gd name="T70" fmla="*/ 0 w 452"/>
                  <a:gd name="T71" fmla="*/ 0 h 355"/>
                  <a:gd name="T72" fmla="*/ 0 w 452"/>
                  <a:gd name="T73" fmla="*/ 0 h 355"/>
                  <a:gd name="T74" fmla="*/ 0 w 452"/>
                  <a:gd name="T75" fmla="*/ 0 h 355"/>
                  <a:gd name="T76" fmla="*/ 0 w 452"/>
                  <a:gd name="T77" fmla="*/ 0 h 355"/>
                  <a:gd name="T78" fmla="*/ 0 w 452"/>
                  <a:gd name="T79" fmla="*/ 0 h 355"/>
                  <a:gd name="T80" fmla="*/ 0 w 452"/>
                  <a:gd name="T81" fmla="*/ 0 h 355"/>
                  <a:gd name="T82" fmla="*/ 0 w 452"/>
                  <a:gd name="T83" fmla="*/ 0 h 355"/>
                  <a:gd name="T84" fmla="*/ 0 w 452"/>
                  <a:gd name="T85" fmla="*/ 0 h 355"/>
                  <a:gd name="T86" fmla="*/ 0 w 452"/>
                  <a:gd name="T87" fmla="*/ 0 h 355"/>
                  <a:gd name="T88" fmla="*/ 0 w 452"/>
                  <a:gd name="T89" fmla="*/ 0 h 355"/>
                  <a:gd name="T90" fmla="*/ 0 w 452"/>
                  <a:gd name="T91" fmla="*/ 0 h 355"/>
                  <a:gd name="T92" fmla="*/ 0 w 452"/>
                  <a:gd name="T93" fmla="*/ 0 h 355"/>
                  <a:gd name="T94" fmla="*/ 0 w 452"/>
                  <a:gd name="T95" fmla="*/ 0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52"/>
                  <a:gd name="T145" fmla="*/ 0 h 355"/>
                  <a:gd name="T146" fmla="*/ 452 w 452"/>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52" h="355">
                    <a:moveTo>
                      <a:pt x="0" y="215"/>
                    </a:moveTo>
                    <a:lnTo>
                      <a:pt x="20" y="200"/>
                    </a:lnTo>
                    <a:lnTo>
                      <a:pt x="87" y="205"/>
                    </a:lnTo>
                    <a:lnTo>
                      <a:pt x="145" y="200"/>
                    </a:lnTo>
                    <a:lnTo>
                      <a:pt x="201" y="191"/>
                    </a:lnTo>
                    <a:lnTo>
                      <a:pt x="201" y="306"/>
                    </a:lnTo>
                    <a:lnTo>
                      <a:pt x="207" y="306"/>
                    </a:lnTo>
                    <a:lnTo>
                      <a:pt x="231" y="182"/>
                    </a:lnTo>
                    <a:lnTo>
                      <a:pt x="283" y="153"/>
                    </a:lnTo>
                    <a:lnTo>
                      <a:pt x="298" y="205"/>
                    </a:lnTo>
                    <a:lnTo>
                      <a:pt x="321" y="239"/>
                    </a:lnTo>
                    <a:lnTo>
                      <a:pt x="332" y="271"/>
                    </a:lnTo>
                    <a:lnTo>
                      <a:pt x="332" y="310"/>
                    </a:lnTo>
                    <a:lnTo>
                      <a:pt x="349" y="349"/>
                    </a:lnTo>
                    <a:lnTo>
                      <a:pt x="360" y="355"/>
                    </a:lnTo>
                    <a:lnTo>
                      <a:pt x="349" y="320"/>
                    </a:lnTo>
                    <a:lnTo>
                      <a:pt x="345" y="277"/>
                    </a:lnTo>
                    <a:lnTo>
                      <a:pt x="355" y="254"/>
                    </a:lnTo>
                    <a:lnTo>
                      <a:pt x="399" y="283"/>
                    </a:lnTo>
                    <a:lnTo>
                      <a:pt x="416" y="297"/>
                    </a:lnTo>
                    <a:lnTo>
                      <a:pt x="399" y="262"/>
                    </a:lnTo>
                    <a:lnTo>
                      <a:pt x="349" y="228"/>
                    </a:lnTo>
                    <a:lnTo>
                      <a:pt x="321" y="210"/>
                    </a:lnTo>
                    <a:lnTo>
                      <a:pt x="306" y="178"/>
                    </a:lnTo>
                    <a:lnTo>
                      <a:pt x="306" y="153"/>
                    </a:lnTo>
                    <a:lnTo>
                      <a:pt x="345" y="121"/>
                    </a:lnTo>
                    <a:lnTo>
                      <a:pt x="366" y="158"/>
                    </a:lnTo>
                    <a:lnTo>
                      <a:pt x="399" y="191"/>
                    </a:lnTo>
                    <a:lnTo>
                      <a:pt x="369" y="105"/>
                    </a:lnTo>
                    <a:lnTo>
                      <a:pt x="412" y="35"/>
                    </a:lnTo>
                    <a:lnTo>
                      <a:pt x="452" y="49"/>
                    </a:lnTo>
                    <a:lnTo>
                      <a:pt x="428" y="0"/>
                    </a:lnTo>
                    <a:lnTo>
                      <a:pt x="428" y="25"/>
                    </a:lnTo>
                    <a:lnTo>
                      <a:pt x="407" y="19"/>
                    </a:lnTo>
                    <a:lnTo>
                      <a:pt x="373" y="77"/>
                    </a:lnTo>
                    <a:lnTo>
                      <a:pt x="355" y="105"/>
                    </a:lnTo>
                    <a:lnTo>
                      <a:pt x="306" y="139"/>
                    </a:lnTo>
                    <a:lnTo>
                      <a:pt x="298" y="158"/>
                    </a:lnTo>
                    <a:lnTo>
                      <a:pt x="287" y="148"/>
                    </a:lnTo>
                    <a:lnTo>
                      <a:pt x="225" y="169"/>
                    </a:lnTo>
                    <a:lnTo>
                      <a:pt x="211" y="221"/>
                    </a:lnTo>
                    <a:lnTo>
                      <a:pt x="201" y="178"/>
                    </a:lnTo>
                    <a:lnTo>
                      <a:pt x="168" y="187"/>
                    </a:lnTo>
                    <a:lnTo>
                      <a:pt x="101" y="191"/>
                    </a:lnTo>
                    <a:lnTo>
                      <a:pt x="30" y="187"/>
                    </a:lnTo>
                    <a:lnTo>
                      <a:pt x="9" y="196"/>
                    </a:lnTo>
                    <a:lnTo>
                      <a:pt x="0" y="215"/>
                    </a:lnTo>
                    <a:close/>
                  </a:path>
                </a:pathLst>
              </a:custGeom>
              <a:solidFill>
                <a:srgbClr val="000000"/>
              </a:solidFill>
              <a:ln w="9525">
                <a:noFill/>
                <a:round/>
                <a:headEnd/>
                <a:tailEnd/>
              </a:ln>
            </p:spPr>
            <p:txBody>
              <a:bodyPr/>
              <a:lstStyle/>
              <a:p>
                <a:endParaRPr lang="fr-FR"/>
              </a:p>
            </p:txBody>
          </p:sp>
          <p:sp>
            <p:nvSpPr>
              <p:cNvPr id="11307" name="Freeform 1049"/>
              <p:cNvSpPr>
                <a:spLocks/>
              </p:cNvSpPr>
              <p:nvPr/>
            </p:nvSpPr>
            <p:spPr bwMode="auto">
              <a:xfrm>
                <a:off x="3846" y="1734"/>
                <a:ext cx="371" cy="202"/>
              </a:xfrm>
              <a:custGeom>
                <a:avLst/>
                <a:gdLst>
                  <a:gd name="T0" fmla="*/ 0 w 1113"/>
                  <a:gd name="T1" fmla="*/ 0 h 606"/>
                  <a:gd name="T2" fmla="*/ 0 w 1113"/>
                  <a:gd name="T3" fmla="*/ 0 h 606"/>
                  <a:gd name="T4" fmla="*/ 0 w 1113"/>
                  <a:gd name="T5" fmla="*/ 0 h 606"/>
                  <a:gd name="T6" fmla="*/ 0 w 1113"/>
                  <a:gd name="T7" fmla="*/ 0 h 606"/>
                  <a:gd name="T8" fmla="*/ 0 w 1113"/>
                  <a:gd name="T9" fmla="*/ 0 h 606"/>
                  <a:gd name="T10" fmla="*/ 0 w 1113"/>
                  <a:gd name="T11" fmla="*/ 0 h 606"/>
                  <a:gd name="T12" fmla="*/ 0 w 1113"/>
                  <a:gd name="T13" fmla="*/ 0 h 606"/>
                  <a:gd name="T14" fmla="*/ 0 w 1113"/>
                  <a:gd name="T15" fmla="*/ 0 h 606"/>
                  <a:gd name="T16" fmla="*/ 0 w 1113"/>
                  <a:gd name="T17" fmla="*/ 0 h 606"/>
                  <a:gd name="T18" fmla="*/ 0 w 1113"/>
                  <a:gd name="T19" fmla="*/ 0 h 606"/>
                  <a:gd name="T20" fmla="*/ 0 w 1113"/>
                  <a:gd name="T21" fmla="*/ 0 h 606"/>
                  <a:gd name="T22" fmla="*/ 0 w 1113"/>
                  <a:gd name="T23" fmla="*/ 0 h 606"/>
                  <a:gd name="T24" fmla="*/ 0 w 1113"/>
                  <a:gd name="T25" fmla="*/ 0 h 606"/>
                  <a:gd name="T26" fmla="*/ 0 w 1113"/>
                  <a:gd name="T27" fmla="*/ 0 h 606"/>
                  <a:gd name="T28" fmla="*/ 0 w 1113"/>
                  <a:gd name="T29" fmla="*/ 0 h 606"/>
                  <a:gd name="T30" fmla="*/ 0 w 1113"/>
                  <a:gd name="T31" fmla="*/ 0 h 606"/>
                  <a:gd name="T32" fmla="*/ 0 w 1113"/>
                  <a:gd name="T33" fmla="*/ 0 h 606"/>
                  <a:gd name="T34" fmla="*/ 0 w 1113"/>
                  <a:gd name="T35" fmla="*/ 0 h 606"/>
                  <a:gd name="T36" fmla="*/ 0 w 1113"/>
                  <a:gd name="T37" fmla="*/ 0 h 606"/>
                  <a:gd name="T38" fmla="*/ 0 w 1113"/>
                  <a:gd name="T39" fmla="*/ 0 h 606"/>
                  <a:gd name="T40" fmla="*/ 0 w 1113"/>
                  <a:gd name="T41" fmla="*/ 0 h 606"/>
                  <a:gd name="T42" fmla="*/ 0 w 1113"/>
                  <a:gd name="T43" fmla="*/ 0 h 606"/>
                  <a:gd name="T44" fmla="*/ 0 w 1113"/>
                  <a:gd name="T45" fmla="*/ 0 h 606"/>
                  <a:gd name="T46" fmla="*/ 0 w 1113"/>
                  <a:gd name="T47" fmla="*/ 0 h 606"/>
                  <a:gd name="T48" fmla="*/ 0 w 1113"/>
                  <a:gd name="T49" fmla="*/ 0 h 606"/>
                  <a:gd name="T50" fmla="*/ 0 w 1113"/>
                  <a:gd name="T51" fmla="*/ 0 h 606"/>
                  <a:gd name="T52" fmla="*/ 0 w 1113"/>
                  <a:gd name="T53" fmla="*/ 0 h 606"/>
                  <a:gd name="T54" fmla="*/ 0 w 1113"/>
                  <a:gd name="T55" fmla="*/ 0 h 606"/>
                  <a:gd name="T56" fmla="*/ 0 w 1113"/>
                  <a:gd name="T57" fmla="*/ 0 h 606"/>
                  <a:gd name="T58" fmla="*/ 0 w 1113"/>
                  <a:gd name="T59" fmla="*/ 0 h 606"/>
                  <a:gd name="T60" fmla="*/ 0 w 1113"/>
                  <a:gd name="T61" fmla="*/ 0 h 606"/>
                  <a:gd name="T62" fmla="*/ 0 w 1113"/>
                  <a:gd name="T63" fmla="*/ 0 h 606"/>
                  <a:gd name="T64" fmla="*/ 0 w 1113"/>
                  <a:gd name="T65" fmla="*/ 0 h 606"/>
                  <a:gd name="T66" fmla="*/ 0 w 1113"/>
                  <a:gd name="T67" fmla="*/ 0 h 606"/>
                  <a:gd name="T68" fmla="*/ 0 w 1113"/>
                  <a:gd name="T69" fmla="*/ 0 h 606"/>
                  <a:gd name="T70" fmla="*/ 0 w 1113"/>
                  <a:gd name="T71" fmla="*/ 0 h 606"/>
                  <a:gd name="T72" fmla="*/ 0 w 1113"/>
                  <a:gd name="T73" fmla="*/ 0 h 606"/>
                  <a:gd name="T74" fmla="*/ 0 w 1113"/>
                  <a:gd name="T75" fmla="*/ 0 h 606"/>
                  <a:gd name="T76" fmla="*/ 0 w 1113"/>
                  <a:gd name="T77" fmla="*/ 0 h 606"/>
                  <a:gd name="T78" fmla="*/ 0 w 1113"/>
                  <a:gd name="T79" fmla="*/ 0 h 606"/>
                  <a:gd name="T80" fmla="*/ 0 w 1113"/>
                  <a:gd name="T81" fmla="*/ 0 h 606"/>
                  <a:gd name="T82" fmla="*/ 0 w 1113"/>
                  <a:gd name="T83" fmla="*/ 0 h 606"/>
                  <a:gd name="T84" fmla="*/ 0 w 1113"/>
                  <a:gd name="T85" fmla="*/ 0 h 606"/>
                  <a:gd name="T86" fmla="*/ 0 w 1113"/>
                  <a:gd name="T87" fmla="*/ 0 h 606"/>
                  <a:gd name="T88" fmla="*/ 0 w 1113"/>
                  <a:gd name="T89" fmla="*/ 0 h 606"/>
                  <a:gd name="T90" fmla="*/ 0 w 1113"/>
                  <a:gd name="T91" fmla="*/ 0 h 60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13"/>
                  <a:gd name="T139" fmla="*/ 0 h 606"/>
                  <a:gd name="T140" fmla="*/ 1113 w 1113"/>
                  <a:gd name="T141" fmla="*/ 606 h 60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13" h="606">
                    <a:moveTo>
                      <a:pt x="0" y="606"/>
                    </a:moveTo>
                    <a:lnTo>
                      <a:pt x="211" y="544"/>
                    </a:lnTo>
                    <a:lnTo>
                      <a:pt x="308" y="511"/>
                    </a:lnTo>
                    <a:lnTo>
                      <a:pt x="480" y="434"/>
                    </a:lnTo>
                    <a:lnTo>
                      <a:pt x="590" y="382"/>
                    </a:lnTo>
                    <a:lnTo>
                      <a:pt x="666" y="327"/>
                    </a:lnTo>
                    <a:lnTo>
                      <a:pt x="756" y="291"/>
                    </a:lnTo>
                    <a:lnTo>
                      <a:pt x="839" y="263"/>
                    </a:lnTo>
                    <a:lnTo>
                      <a:pt x="949" y="235"/>
                    </a:lnTo>
                    <a:lnTo>
                      <a:pt x="1001" y="211"/>
                    </a:lnTo>
                    <a:lnTo>
                      <a:pt x="1019" y="183"/>
                    </a:lnTo>
                    <a:lnTo>
                      <a:pt x="1030" y="154"/>
                    </a:lnTo>
                    <a:lnTo>
                      <a:pt x="1036" y="192"/>
                    </a:lnTo>
                    <a:lnTo>
                      <a:pt x="1044" y="148"/>
                    </a:lnTo>
                    <a:lnTo>
                      <a:pt x="1079" y="101"/>
                    </a:lnTo>
                    <a:lnTo>
                      <a:pt x="1113" y="73"/>
                    </a:lnTo>
                    <a:lnTo>
                      <a:pt x="1079" y="86"/>
                    </a:lnTo>
                    <a:lnTo>
                      <a:pt x="1040" y="135"/>
                    </a:lnTo>
                    <a:lnTo>
                      <a:pt x="1030" y="107"/>
                    </a:lnTo>
                    <a:lnTo>
                      <a:pt x="1036" y="82"/>
                    </a:lnTo>
                    <a:lnTo>
                      <a:pt x="1053" y="53"/>
                    </a:lnTo>
                    <a:lnTo>
                      <a:pt x="1058" y="21"/>
                    </a:lnTo>
                    <a:lnTo>
                      <a:pt x="1058" y="0"/>
                    </a:lnTo>
                    <a:lnTo>
                      <a:pt x="1050" y="34"/>
                    </a:lnTo>
                    <a:lnTo>
                      <a:pt x="1027" y="82"/>
                    </a:lnTo>
                    <a:lnTo>
                      <a:pt x="1001" y="82"/>
                    </a:lnTo>
                    <a:lnTo>
                      <a:pt x="978" y="62"/>
                    </a:lnTo>
                    <a:lnTo>
                      <a:pt x="967" y="53"/>
                    </a:lnTo>
                    <a:lnTo>
                      <a:pt x="982" y="86"/>
                    </a:lnTo>
                    <a:lnTo>
                      <a:pt x="1016" y="95"/>
                    </a:lnTo>
                    <a:lnTo>
                      <a:pt x="1019" y="131"/>
                    </a:lnTo>
                    <a:lnTo>
                      <a:pt x="1019" y="159"/>
                    </a:lnTo>
                    <a:lnTo>
                      <a:pt x="1001" y="192"/>
                    </a:lnTo>
                    <a:lnTo>
                      <a:pt x="992" y="200"/>
                    </a:lnTo>
                    <a:lnTo>
                      <a:pt x="939" y="224"/>
                    </a:lnTo>
                    <a:lnTo>
                      <a:pt x="865" y="244"/>
                    </a:lnTo>
                    <a:lnTo>
                      <a:pt x="790" y="269"/>
                    </a:lnTo>
                    <a:lnTo>
                      <a:pt x="738" y="285"/>
                    </a:lnTo>
                    <a:lnTo>
                      <a:pt x="666" y="316"/>
                    </a:lnTo>
                    <a:lnTo>
                      <a:pt x="594" y="368"/>
                    </a:lnTo>
                    <a:lnTo>
                      <a:pt x="536" y="401"/>
                    </a:lnTo>
                    <a:lnTo>
                      <a:pt x="409" y="459"/>
                    </a:lnTo>
                    <a:lnTo>
                      <a:pt x="256" y="526"/>
                    </a:lnTo>
                    <a:lnTo>
                      <a:pt x="52" y="587"/>
                    </a:lnTo>
                    <a:lnTo>
                      <a:pt x="0" y="606"/>
                    </a:lnTo>
                    <a:close/>
                  </a:path>
                </a:pathLst>
              </a:custGeom>
              <a:solidFill>
                <a:srgbClr val="000000"/>
              </a:solidFill>
              <a:ln w="9525">
                <a:noFill/>
                <a:round/>
                <a:headEnd/>
                <a:tailEnd/>
              </a:ln>
            </p:spPr>
            <p:txBody>
              <a:bodyPr/>
              <a:lstStyle/>
              <a:p>
                <a:endParaRPr lang="fr-FR"/>
              </a:p>
            </p:txBody>
          </p:sp>
          <p:sp>
            <p:nvSpPr>
              <p:cNvPr id="11308" name="Freeform 1050"/>
              <p:cNvSpPr>
                <a:spLocks/>
              </p:cNvSpPr>
              <p:nvPr/>
            </p:nvSpPr>
            <p:spPr bwMode="auto">
              <a:xfrm>
                <a:off x="4194" y="1672"/>
                <a:ext cx="324" cy="126"/>
              </a:xfrm>
              <a:custGeom>
                <a:avLst/>
                <a:gdLst>
                  <a:gd name="T0" fmla="*/ 0 w 973"/>
                  <a:gd name="T1" fmla="*/ 0 h 378"/>
                  <a:gd name="T2" fmla="*/ 0 w 973"/>
                  <a:gd name="T3" fmla="*/ 0 h 378"/>
                  <a:gd name="T4" fmla="*/ 0 w 973"/>
                  <a:gd name="T5" fmla="*/ 0 h 378"/>
                  <a:gd name="T6" fmla="*/ 0 w 973"/>
                  <a:gd name="T7" fmla="*/ 0 h 378"/>
                  <a:gd name="T8" fmla="*/ 0 w 973"/>
                  <a:gd name="T9" fmla="*/ 0 h 378"/>
                  <a:gd name="T10" fmla="*/ 0 w 973"/>
                  <a:gd name="T11" fmla="*/ 0 h 378"/>
                  <a:gd name="T12" fmla="*/ 0 w 973"/>
                  <a:gd name="T13" fmla="*/ 0 h 378"/>
                  <a:gd name="T14" fmla="*/ 0 w 973"/>
                  <a:gd name="T15" fmla="*/ 0 h 378"/>
                  <a:gd name="T16" fmla="*/ 0 w 973"/>
                  <a:gd name="T17" fmla="*/ 0 h 378"/>
                  <a:gd name="T18" fmla="*/ 0 w 973"/>
                  <a:gd name="T19" fmla="*/ 0 h 378"/>
                  <a:gd name="T20" fmla="*/ 0 w 973"/>
                  <a:gd name="T21" fmla="*/ 0 h 378"/>
                  <a:gd name="T22" fmla="*/ 0 w 973"/>
                  <a:gd name="T23" fmla="*/ 0 h 378"/>
                  <a:gd name="T24" fmla="*/ 0 w 973"/>
                  <a:gd name="T25" fmla="*/ 0 h 378"/>
                  <a:gd name="T26" fmla="*/ 0 w 973"/>
                  <a:gd name="T27" fmla="*/ 0 h 378"/>
                  <a:gd name="T28" fmla="*/ 0 w 973"/>
                  <a:gd name="T29" fmla="*/ 0 h 378"/>
                  <a:gd name="T30" fmla="*/ 0 w 973"/>
                  <a:gd name="T31" fmla="*/ 0 h 378"/>
                  <a:gd name="T32" fmla="*/ 0 w 973"/>
                  <a:gd name="T33" fmla="*/ 0 h 378"/>
                  <a:gd name="T34" fmla="*/ 0 w 973"/>
                  <a:gd name="T35" fmla="*/ 0 h 378"/>
                  <a:gd name="T36" fmla="*/ 0 w 973"/>
                  <a:gd name="T37" fmla="*/ 0 h 378"/>
                  <a:gd name="T38" fmla="*/ 0 w 973"/>
                  <a:gd name="T39" fmla="*/ 0 h 378"/>
                  <a:gd name="T40" fmla="*/ 0 w 973"/>
                  <a:gd name="T41" fmla="*/ 0 h 378"/>
                  <a:gd name="T42" fmla="*/ 0 w 973"/>
                  <a:gd name="T43" fmla="*/ 0 h 378"/>
                  <a:gd name="T44" fmla="*/ 0 w 973"/>
                  <a:gd name="T45" fmla="*/ 0 h 378"/>
                  <a:gd name="T46" fmla="*/ 0 w 973"/>
                  <a:gd name="T47" fmla="*/ 0 h 378"/>
                  <a:gd name="T48" fmla="*/ 0 w 973"/>
                  <a:gd name="T49" fmla="*/ 0 h 378"/>
                  <a:gd name="T50" fmla="*/ 0 w 973"/>
                  <a:gd name="T51" fmla="*/ 0 h 378"/>
                  <a:gd name="T52" fmla="*/ 0 w 973"/>
                  <a:gd name="T53" fmla="*/ 0 h 378"/>
                  <a:gd name="T54" fmla="*/ 0 w 973"/>
                  <a:gd name="T55" fmla="*/ 0 h 378"/>
                  <a:gd name="T56" fmla="*/ 0 w 973"/>
                  <a:gd name="T57" fmla="*/ 0 h 378"/>
                  <a:gd name="T58" fmla="*/ 0 w 973"/>
                  <a:gd name="T59" fmla="*/ 0 h 378"/>
                  <a:gd name="T60" fmla="*/ 0 w 973"/>
                  <a:gd name="T61" fmla="*/ 0 h 378"/>
                  <a:gd name="T62" fmla="*/ 0 w 973"/>
                  <a:gd name="T63" fmla="*/ 0 h 378"/>
                  <a:gd name="T64" fmla="*/ 0 w 973"/>
                  <a:gd name="T65" fmla="*/ 0 h 378"/>
                  <a:gd name="T66" fmla="*/ 0 w 973"/>
                  <a:gd name="T67" fmla="*/ 0 h 378"/>
                  <a:gd name="T68" fmla="*/ 0 w 973"/>
                  <a:gd name="T69" fmla="*/ 0 h 378"/>
                  <a:gd name="T70" fmla="*/ 0 w 973"/>
                  <a:gd name="T71" fmla="*/ 0 h 378"/>
                  <a:gd name="T72" fmla="*/ 0 w 973"/>
                  <a:gd name="T73" fmla="*/ 0 h 378"/>
                  <a:gd name="T74" fmla="*/ 0 w 973"/>
                  <a:gd name="T75" fmla="*/ 0 h 378"/>
                  <a:gd name="T76" fmla="*/ 0 w 973"/>
                  <a:gd name="T77" fmla="*/ 0 h 378"/>
                  <a:gd name="T78" fmla="*/ 0 w 973"/>
                  <a:gd name="T79" fmla="*/ 0 h 378"/>
                  <a:gd name="T80" fmla="*/ 0 w 973"/>
                  <a:gd name="T81" fmla="*/ 0 h 378"/>
                  <a:gd name="T82" fmla="*/ 0 w 973"/>
                  <a:gd name="T83" fmla="*/ 0 h 378"/>
                  <a:gd name="T84" fmla="*/ 0 w 973"/>
                  <a:gd name="T85" fmla="*/ 0 h 378"/>
                  <a:gd name="T86" fmla="*/ 0 w 973"/>
                  <a:gd name="T87" fmla="*/ 0 h 378"/>
                  <a:gd name="T88" fmla="*/ 0 w 973"/>
                  <a:gd name="T89" fmla="*/ 0 h 378"/>
                  <a:gd name="T90" fmla="*/ 0 w 973"/>
                  <a:gd name="T91" fmla="*/ 0 h 378"/>
                  <a:gd name="T92" fmla="*/ 0 w 973"/>
                  <a:gd name="T93" fmla="*/ 0 h 378"/>
                  <a:gd name="T94" fmla="*/ 0 w 973"/>
                  <a:gd name="T95" fmla="*/ 0 h 378"/>
                  <a:gd name="T96" fmla="*/ 0 w 973"/>
                  <a:gd name="T97" fmla="*/ 0 h 378"/>
                  <a:gd name="T98" fmla="*/ 0 w 973"/>
                  <a:gd name="T99" fmla="*/ 0 h 378"/>
                  <a:gd name="T100" fmla="*/ 0 w 973"/>
                  <a:gd name="T101" fmla="*/ 0 h 378"/>
                  <a:gd name="T102" fmla="*/ 0 w 973"/>
                  <a:gd name="T103" fmla="*/ 0 h 378"/>
                  <a:gd name="T104" fmla="*/ 0 w 973"/>
                  <a:gd name="T105" fmla="*/ 0 h 378"/>
                  <a:gd name="T106" fmla="*/ 0 w 973"/>
                  <a:gd name="T107" fmla="*/ 0 h 378"/>
                  <a:gd name="T108" fmla="*/ 0 w 973"/>
                  <a:gd name="T109" fmla="*/ 0 h 378"/>
                  <a:gd name="T110" fmla="*/ 0 w 973"/>
                  <a:gd name="T111" fmla="*/ 0 h 378"/>
                  <a:gd name="T112" fmla="*/ 0 w 973"/>
                  <a:gd name="T113" fmla="*/ 0 h 378"/>
                  <a:gd name="T114" fmla="*/ 0 w 973"/>
                  <a:gd name="T115" fmla="*/ 0 h 3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73"/>
                  <a:gd name="T175" fmla="*/ 0 h 378"/>
                  <a:gd name="T176" fmla="*/ 973 w 973"/>
                  <a:gd name="T177" fmla="*/ 378 h 37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73" h="378">
                    <a:moveTo>
                      <a:pt x="0" y="378"/>
                    </a:moveTo>
                    <a:lnTo>
                      <a:pt x="76" y="355"/>
                    </a:lnTo>
                    <a:lnTo>
                      <a:pt x="100" y="330"/>
                    </a:lnTo>
                    <a:lnTo>
                      <a:pt x="106" y="293"/>
                    </a:lnTo>
                    <a:lnTo>
                      <a:pt x="106" y="263"/>
                    </a:lnTo>
                    <a:lnTo>
                      <a:pt x="72" y="201"/>
                    </a:lnTo>
                    <a:lnTo>
                      <a:pt x="116" y="254"/>
                    </a:lnTo>
                    <a:lnTo>
                      <a:pt x="134" y="248"/>
                    </a:lnTo>
                    <a:lnTo>
                      <a:pt x="159" y="230"/>
                    </a:lnTo>
                    <a:lnTo>
                      <a:pt x="183" y="201"/>
                    </a:lnTo>
                    <a:lnTo>
                      <a:pt x="168" y="230"/>
                    </a:lnTo>
                    <a:lnTo>
                      <a:pt x="134" y="268"/>
                    </a:lnTo>
                    <a:lnTo>
                      <a:pt x="121" y="300"/>
                    </a:lnTo>
                    <a:lnTo>
                      <a:pt x="116" y="348"/>
                    </a:lnTo>
                    <a:lnTo>
                      <a:pt x="202" y="324"/>
                    </a:lnTo>
                    <a:lnTo>
                      <a:pt x="231" y="259"/>
                    </a:lnTo>
                    <a:lnTo>
                      <a:pt x="231" y="186"/>
                    </a:lnTo>
                    <a:lnTo>
                      <a:pt x="240" y="254"/>
                    </a:lnTo>
                    <a:lnTo>
                      <a:pt x="287" y="216"/>
                    </a:lnTo>
                    <a:lnTo>
                      <a:pt x="245" y="268"/>
                    </a:lnTo>
                    <a:lnTo>
                      <a:pt x="225" y="321"/>
                    </a:lnTo>
                    <a:lnTo>
                      <a:pt x="303" y="297"/>
                    </a:lnTo>
                    <a:lnTo>
                      <a:pt x="321" y="277"/>
                    </a:lnTo>
                    <a:lnTo>
                      <a:pt x="335" y="230"/>
                    </a:lnTo>
                    <a:lnTo>
                      <a:pt x="327" y="181"/>
                    </a:lnTo>
                    <a:lnTo>
                      <a:pt x="345" y="216"/>
                    </a:lnTo>
                    <a:lnTo>
                      <a:pt x="397" y="164"/>
                    </a:lnTo>
                    <a:lnTo>
                      <a:pt x="351" y="225"/>
                    </a:lnTo>
                    <a:lnTo>
                      <a:pt x="335" y="287"/>
                    </a:lnTo>
                    <a:lnTo>
                      <a:pt x="428" y="259"/>
                    </a:lnTo>
                    <a:lnTo>
                      <a:pt x="442" y="230"/>
                    </a:lnTo>
                    <a:lnTo>
                      <a:pt x="446" y="201"/>
                    </a:lnTo>
                    <a:lnTo>
                      <a:pt x="436" y="164"/>
                    </a:lnTo>
                    <a:lnTo>
                      <a:pt x="462" y="193"/>
                    </a:lnTo>
                    <a:lnTo>
                      <a:pt x="499" y="164"/>
                    </a:lnTo>
                    <a:lnTo>
                      <a:pt x="462" y="207"/>
                    </a:lnTo>
                    <a:lnTo>
                      <a:pt x="452" y="248"/>
                    </a:lnTo>
                    <a:lnTo>
                      <a:pt x="571" y="207"/>
                    </a:lnTo>
                    <a:lnTo>
                      <a:pt x="624" y="186"/>
                    </a:lnTo>
                    <a:lnTo>
                      <a:pt x="638" y="153"/>
                    </a:lnTo>
                    <a:lnTo>
                      <a:pt x="638" y="177"/>
                    </a:lnTo>
                    <a:lnTo>
                      <a:pt x="691" y="159"/>
                    </a:lnTo>
                    <a:lnTo>
                      <a:pt x="715" y="121"/>
                    </a:lnTo>
                    <a:lnTo>
                      <a:pt x="715" y="149"/>
                    </a:lnTo>
                    <a:lnTo>
                      <a:pt x="777" y="131"/>
                    </a:lnTo>
                    <a:lnTo>
                      <a:pt x="814" y="82"/>
                    </a:lnTo>
                    <a:lnTo>
                      <a:pt x="808" y="107"/>
                    </a:lnTo>
                    <a:lnTo>
                      <a:pt x="843" y="82"/>
                    </a:lnTo>
                    <a:lnTo>
                      <a:pt x="973" y="0"/>
                    </a:lnTo>
                    <a:lnTo>
                      <a:pt x="856" y="86"/>
                    </a:lnTo>
                    <a:lnTo>
                      <a:pt x="780" y="135"/>
                    </a:lnTo>
                    <a:lnTo>
                      <a:pt x="652" y="181"/>
                    </a:lnTo>
                    <a:lnTo>
                      <a:pt x="517" y="235"/>
                    </a:lnTo>
                    <a:lnTo>
                      <a:pt x="390" y="281"/>
                    </a:lnTo>
                    <a:lnTo>
                      <a:pt x="254" y="321"/>
                    </a:lnTo>
                    <a:lnTo>
                      <a:pt x="100" y="358"/>
                    </a:lnTo>
                    <a:lnTo>
                      <a:pt x="0" y="378"/>
                    </a:lnTo>
                    <a:close/>
                  </a:path>
                </a:pathLst>
              </a:custGeom>
              <a:solidFill>
                <a:srgbClr val="000000"/>
              </a:solidFill>
              <a:ln w="9525">
                <a:noFill/>
                <a:round/>
                <a:headEnd/>
                <a:tailEnd/>
              </a:ln>
            </p:spPr>
            <p:txBody>
              <a:bodyPr/>
              <a:lstStyle/>
              <a:p>
                <a:endParaRPr lang="fr-FR"/>
              </a:p>
            </p:txBody>
          </p:sp>
          <p:sp>
            <p:nvSpPr>
              <p:cNvPr id="11309" name="Freeform 1051"/>
              <p:cNvSpPr>
                <a:spLocks/>
              </p:cNvSpPr>
              <p:nvPr/>
            </p:nvSpPr>
            <p:spPr bwMode="auto">
              <a:xfrm>
                <a:off x="4051" y="1881"/>
                <a:ext cx="20" cy="14"/>
              </a:xfrm>
              <a:custGeom>
                <a:avLst/>
                <a:gdLst>
                  <a:gd name="T0" fmla="*/ 0 w 61"/>
                  <a:gd name="T1" fmla="*/ 0 h 41"/>
                  <a:gd name="T2" fmla="*/ 0 w 61"/>
                  <a:gd name="T3" fmla="*/ 0 h 41"/>
                  <a:gd name="T4" fmla="*/ 0 w 61"/>
                  <a:gd name="T5" fmla="*/ 0 h 41"/>
                  <a:gd name="T6" fmla="*/ 0 w 61"/>
                  <a:gd name="T7" fmla="*/ 0 h 41"/>
                  <a:gd name="T8" fmla="*/ 0 w 61"/>
                  <a:gd name="T9" fmla="*/ 0 h 41"/>
                  <a:gd name="T10" fmla="*/ 0 w 61"/>
                  <a:gd name="T11" fmla="*/ 0 h 41"/>
                  <a:gd name="T12" fmla="*/ 0 w 61"/>
                  <a:gd name="T13" fmla="*/ 0 h 41"/>
                  <a:gd name="T14" fmla="*/ 0 w 61"/>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41"/>
                  <a:gd name="T26" fmla="*/ 61 w 61"/>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41">
                    <a:moveTo>
                      <a:pt x="0" y="23"/>
                    </a:moveTo>
                    <a:lnTo>
                      <a:pt x="18" y="0"/>
                    </a:lnTo>
                    <a:lnTo>
                      <a:pt x="42" y="10"/>
                    </a:lnTo>
                    <a:lnTo>
                      <a:pt x="61" y="41"/>
                    </a:lnTo>
                    <a:lnTo>
                      <a:pt x="37" y="19"/>
                    </a:lnTo>
                    <a:lnTo>
                      <a:pt x="18" y="10"/>
                    </a:lnTo>
                    <a:lnTo>
                      <a:pt x="0" y="23"/>
                    </a:lnTo>
                    <a:close/>
                  </a:path>
                </a:pathLst>
              </a:custGeom>
              <a:solidFill>
                <a:srgbClr val="000000"/>
              </a:solidFill>
              <a:ln w="9525">
                <a:noFill/>
                <a:round/>
                <a:headEnd/>
                <a:tailEnd/>
              </a:ln>
            </p:spPr>
            <p:txBody>
              <a:bodyPr/>
              <a:lstStyle/>
              <a:p>
                <a:endParaRPr lang="fr-FR"/>
              </a:p>
            </p:txBody>
          </p:sp>
          <p:sp>
            <p:nvSpPr>
              <p:cNvPr id="11310" name="Freeform 1052"/>
              <p:cNvSpPr>
                <a:spLocks/>
              </p:cNvSpPr>
              <p:nvPr/>
            </p:nvSpPr>
            <p:spPr bwMode="auto">
              <a:xfrm>
                <a:off x="4061" y="1848"/>
                <a:ext cx="52" cy="31"/>
              </a:xfrm>
              <a:custGeom>
                <a:avLst/>
                <a:gdLst>
                  <a:gd name="T0" fmla="*/ 0 w 155"/>
                  <a:gd name="T1" fmla="*/ 0 h 94"/>
                  <a:gd name="T2" fmla="*/ 0 w 155"/>
                  <a:gd name="T3" fmla="*/ 0 h 94"/>
                  <a:gd name="T4" fmla="*/ 0 w 155"/>
                  <a:gd name="T5" fmla="*/ 0 h 94"/>
                  <a:gd name="T6" fmla="*/ 0 w 155"/>
                  <a:gd name="T7" fmla="*/ 0 h 94"/>
                  <a:gd name="T8" fmla="*/ 0 w 155"/>
                  <a:gd name="T9" fmla="*/ 0 h 94"/>
                  <a:gd name="T10" fmla="*/ 0 w 155"/>
                  <a:gd name="T11" fmla="*/ 0 h 94"/>
                  <a:gd name="T12" fmla="*/ 0 w 155"/>
                  <a:gd name="T13" fmla="*/ 0 h 94"/>
                  <a:gd name="T14" fmla="*/ 0 w 155"/>
                  <a:gd name="T15" fmla="*/ 0 h 94"/>
                  <a:gd name="T16" fmla="*/ 0 w 155"/>
                  <a:gd name="T17" fmla="*/ 0 h 94"/>
                  <a:gd name="T18" fmla="*/ 0 w 155"/>
                  <a:gd name="T19" fmla="*/ 0 h 94"/>
                  <a:gd name="T20" fmla="*/ 0 w 155"/>
                  <a:gd name="T21" fmla="*/ 0 h 94"/>
                  <a:gd name="T22" fmla="*/ 0 w 155"/>
                  <a:gd name="T23" fmla="*/ 0 h 94"/>
                  <a:gd name="T24" fmla="*/ 0 w 155"/>
                  <a:gd name="T25" fmla="*/ 0 h 94"/>
                  <a:gd name="T26" fmla="*/ 0 w 155"/>
                  <a:gd name="T27" fmla="*/ 0 h 94"/>
                  <a:gd name="T28" fmla="*/ 0 w 155"/>
                  <a:gd name="T29" fmla="*/ 0 h 94"/>
                  <a:gd name="T30" fmla="*/ 0 w 155"/>
                  <a:gd name="T31" fmla="*/ 0 h 94"/>
                  <a:gd name="T32" fmla="*/ 0 w 155"/>
                  <a:gd name="T33" fmla="*/ 0 h 9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94"/>
                  <a:gd name="T53" fmla="*/ 155 w 155"/>
                  <a:gd name="T54" fmla="*/ 94 h 9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94">
                    <a:moveTo>
                      <a:pt x="15" y="94"/>
                    </a:moveTo>
                    <a:lnTo>
                      <a:pt x="0" y="70"/>
                    </a:lnTo>
                    <a:lnTo>
                      <a:pt x="6" y="46"/>
                    </a:lnTo>
                    <a:lnTo>
                      <a:pt x="30" y="28"/>
                    </a:lnTo>
                    <a:lnTo>
                      <a:pt x="64" y="5"/>
                    </a:lnTo>
                    <a:lnTo>
                      <a:pt x="101" y="0"/>
                    </a:lnTo>
                    <a:lnTo>
                      <a:pt x="110" y="24"/>
                    </a:lnTo>
                    <a:lnTo>
                      <a:pt x="127" y="46"/>
                    </a:lnTo>
                    <a:lnTo>
                      <a:pt x="155" y="65"/>
                    </a:lnTo>
                    <a:lnTo>
                      <a:pt x="127" y="57"/>
                    </a:lnTo>
                    <a:lnTo>
                      <a:pt x="107" y="39"/>
                    </a:lnTo>
                    <a:lnTo>
                      <a:pt x="92" y="24"/>
                    </a:lnTo>
                    <a:lnTo>
                      <a:pt x="64" y="24"/>
                    </a:lnTo>
                    <a:lnTo>
                      <a:pt x="20" y="46"/>
                    </a:lnTo>
                    <a:lnTo>
                      <a:pt x="11" y="65"/>
                    </a:lnTo>
                    <a:lnTo>
                      <a:pt x="15" y="94"/>
                    </a:lnTo>
                    <a:close/>
                  </a:path>
                </a:pathLst>
              </a:custGeom>
              <a:solidFill>
                <a:srgbClr val="000000"/>
              </a:solidFill>
              <a:ln w="9525">
                <a:noFill/>
                <a:round/>
                <a:headEnd/>
                <a:tailEnd/>
              </a:ln>
            </p:spPr>
            <p:txBody>
              <a:bodyPr/>
              <a:lstStyle/>
              <a:p>
                <a:endParaRPr lang="fr-FR"/>
              </a:p>
            </p:txBody>
          </p:sp>
          <p:sp>
            <p:nvSpPr>
              <p:cNvPr id="11311" name="Freeform 1053"/>
              <p:cNvSpPr>
                <a:spLocks/>
              </p:cNvSpPr>
              <p:nvPr/>
            </p:nvSpPr>
            <p:spPr bwMode="auto">
              <a:xfrm>
                <a:off x="4107" y="1687"/>
                <a:ext cx="395" cy="176"/>
              </a:xfrm>
              <a:custGeom>
                <a:avLst/>
                <a:gdLst>
                  <a:gd name="T0" fmla="*/ 0 w 1186"/>
                  <a:gd name="T1" fmla="*/ 0 h 529"/>
                  <a:gd name="T2" fmla="*/ 0 w 1186"/>
                  <a:gd name="T3" fmla="*/ 0 h 529"/>
                  <a:gd name="T4" fmla="*/ 0 w 1186"/>
                  <a:gd name="T5" fmla="*/ 0 h 529"/>
                  <a:gd name="T6" fmla="*/ 0 w 1186"/>
                  <a:gd name="T7" fmla="*/ 0 h 529"/>
                  <a:gd name="T8" fmla="*/ 0 w 1186"/>
                  <a:gd name="T9" fmla="*/ 0 h 529"/>
                  <a:gd name="T10" fmla="*/ 0 w 1186"/>
                  <a:gd name="T11" fmla="*/ 0 h 529"/>
                  <a:gd name="T12" fmla="*/ 0 w 1186"/>
                  <a:gd name="T13" fmla="*/ 0 h 529"/>
                  <a:gd name="T14" fmla="*/ 0 w 1186"/>
                  <a:gd name="T15" fmla="*/ 0 h 529"/>
                  <a:gd name="T16" fmla="*/ 0 w 1186"/>
                  <a:gd name="T17" fmla="*/ 0 h 529"/>
                  <a:gd name="T18" fmla="*/ 0 w 1186"/>
                  <a:gd name="T19" fmla="*/ 0 h 529"/>
                  <a:gd name="T20" fmla="*/ 0 w 1186"/>
                  <a:gd name="T21" fmla="*/ 0 h 529"/>
                  <a:gd name="T22" fmla="*/ 0 w 1186"/>
                  <a:gd name="T23" fmla="*/ 0 h 529"/>
                  <a:gd name="T24" fmla="*/ 0 w 1186"/>
                  <a:gd name="T25" fmla="*/ 0 h 529"/>
                  <a:gd name="T26" fmla="*/ 0 w 1186"/>
                  <a:gd name="T27" fmla="*/ 0 h 529"/>
                  <a:gd name="T28" fmla="*/ 0 w 1186"/>
                  <a:gd name="T29" fmla="*/ 0 h 529"/>
                  <a:gd name="T30" fmla="*/ 0 w 1186"/>
                  <a:gd name="T31" fmla="*/ 0 h 529"/>
                  <a:gd name="T32" fmla="*/ 0 w 1186"/>
                  <a:gd name="T33" fmla="*/ 0 h 529"/>
                  <a:gd name="T34" fmla="*/ 0 w 1186"/>
                  <a:gd name="T35" fmla="*/ 0 h 529"/>
                  <a:gd name="T36" fmla="*/ 0 w 1186"/>
                  <a:gd name="T37" fmla="*/ 0 h 529"/>
                  <a:gd name="T38" fmla="*/ 0 w 1186"/>
                  <a:gd name="T39" fmla="*/ 0 h 529"/>
                  <a:gd name="T40" fmla="*/ 0 w 1186"/>
                  <a:gd name="T41" fmla="*/ 0 h 529"/>
                  <a:gd name="T42" fmla="*/ 0 w 1186"/>
                  <a:gd name="T43" fmla="*/ 0 h 529"/>
                  <a:gd name="T44" fmla="*/ 0 w 1186"/>
                  <a:gd name="T45" fmla="*/ 0 h 529"/>
                  <a:gd name="T46" fmla="*/ 0 w 1186"/>
                  <a:gd name="T47" fmla="*/ 0 h 529"/>
                  <a:gd name="T48" fmla="*/ 0 w 1186"/>
                  <a:gd name="T49" fmla="*/ 0 h 529"/>
                  <a:gd name="T50" fmla="*/ 0 w 1186"/>
                  <a:gd name="T51" fmla="*/ 0 h 529"/>
                  <a:gd name="T52" fmla="*/ 0 w 1186"/>
                  <a:gd name="T53" fmla="*/ 0 h 529"/>
                  <a:gd name="T54" fmla="*/ 0 w 1186"/>
                  <a:gd name="T55" fmla="*/ 0 h 529"/>
                  <a:gd name="T56" fmla="*/ 0 w 1186"/>
                  <a:gd name="T57" fmla="*/ 0 h 529"/>
                  <a:gd name="T58" fmla="*/ 0 w 1186"/>
                  <a:gd name="T59" fmla="*/ 0 h 529"/>
                  <a:gd name="T60" fmla="*/ 0 w 1186"/>
                  <a:gd name="T61" fmla="*/ 0 h 529"/>
                  <a:gd name="T62" fmla="*/ 0 w 1186"/>
                  <a:gd name="T63" fmla="*/ 0 h 5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86"/>
                  <a:gd name="T97" fmla="*/ 0 h 529"/>
                  <a:gd name="T98" fmla="*/ 1186 w 1186"/>
                  <a:gd name="T99" fmla="*/ 529 h 5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86" h="529">
                    <a:moveTo>
                      <a:pt x="23" y="529"/>
                    </a:moveTo>
                    <a:lnTo>
                      <a:pt x="8" y="522"/>
                    </a:lnTo>
                    <a:lnTo>
                      <a:pt x="0" y="501"/>
                    </a:lnTo>
                    <a:lnTo>
                      <a:pt x="0" y="488"/>
                    </a:lnTo>
                    <a:lnTo>
                      <a:pt x="8" y="459"/>
                    </a:lnTo>
                    <a:lnTo>
                      <a:pt x="83" y="428"/>
                    </a:lnTo>
                    <a:lnTo>
                      <a:pt x="130" y="425"/>
                    </a:lnTo>
                    <a:lnTo>
                      <a:pt x="161" y="434"/>
                    </a:lnTo>
                    <a:lnTo>
                      <a:pt x="185" y="453"/>
                    </a:lnTo>
                    <a:lnTo>
                      <a:pt x="172" y="416"/>
                    </a:lnTo>
                    <a:lnTo>
                      <a:pt x="254" y="387"/>
                    </a:lnTo>
                    <a:lnTo>
                      <a:pt x="268" y="416"/>
                    </a:lnTo>
                    <a:lnTo>
                      <a:pt x="300" y="440"/>
                    </a:lnTo>
                    <a:lnTo>
                      <a:pt x="282" y="381"/>
                    </a:lnTo>
                    <a:lnTo>
                      <a:pt x="411" y="349"/>
                    </a:lnTo>
                    <a:lnTo>
                      <a:pt x="469" y="335"/>
                    </a:lnTo>
                    <a:lnTo>
                      <a:pt x="507" y="363"/>
                    </a:lnTo>
                    <a:lnTo>
                      <a:pt x="507" y="320"/>
                    </a:lnTo>
                    <a:lnTo>
                      <a:pt x="574" y="305"/>
                    </a:lnTo>
                    <a:lnTo>
                      <a:pt x="613" y="291"/>
                    </a:lnTo>
                    <a:lnTo>
                      <a:pt x="652" y="305"/>
                    </a:lnTo>
                    <a:lnTo>
                      <a:pt x="646" y="274"/>
                    </a:lnTo>
                    <a:lnTo>
                      <a:pt x="714" y="254"/>
                    </a:lnTo>
                    <a:lnTo>
                      <a:pt x="756" y="268"/>
                    </a:lnTo>
                    <a:lnTo>
                      <a:pt x="756" y="229"/>
                    </a:lnTo>
                    <a:lnTo>
                      <a:pt x="855" y="201"/>
                    </a:lnTo>
                    <a:lnTo>
                      <a:pt x="895" y="216"/>
                    </a:lnTo>
                    <a:lnTo>
                      <a:pt x="889" y="187"/>
                    </a:lnTo>
                    <a:lnTo>
                      <a:pt x="962" y="158"/>
                    </a:lnTo>
                    <a:lnTo>
                      <a:pt x="1004" y="150"/>
                    </a:lnTo>
                    <a:lnTo>
                      <a:pt x="995" y="134"/>
                    </a:lnTo>
                    <a:lnTo>
                      <a:pt x="1056" y="101"/>
                    </a:lnTo>
                    <a:lnTo>
                      <a:pt x="1186" y="0"/>
                    </a:lnTo>
                    <a:lnTo>
                      <a:pt x="1076" y="95"/>
                    </a:lnTo>
                    <a:lnTo>
                      <a:pt x="1020" y="134"/>
                    </a:lnTo>
                    <a:lnTo>
                      <a:pt x="1029" y="153"/>
                    </a:lnTo>
                    <a:lnTo>
                      <a:pt x="962" y="168"/>
                    </a:lnTo>
                    <a:lnTo>
                      <a:pt x="904" y="196"/>
                    </a:lnTo>
                    <a:lnTo>
                      <a:pt x="914" y="225"/>
                    </a:lnTo>
                    <a:lnTo>
                      <a:pt x="861" y="211"/>
                    </a:lnTo>
                    <a:lnTo>
                      <a:pt x="766" y="238"/>
                    </a:lnTo>
                    <a:lnTo>
                      <a:pt x="779" y="291"/>
                    </a:lnTo>
                    <a:lnTo>
                      <a:pt x="717" y="263"/>
                    </a:lnTo>
                    <a:lnTo>
                      <a:pt x="659" y="281"/>
                    </a:lnTo>
                    <a:lnTo>
                      <a:pt x="665" y="326"/>
                    </a:lnTo>
                    <a:lnTo>
                      <a:pt x="617" y="312"/>
                    </a:lnTo>
                    <a:lnTo>
                      <a:pt x="516" y="335"/>
                    </a:lnTo>
                    <a:lnTo>
                      <a:pt x="521" y="387"/>
                    </a:lnTo>
                    <a:lnTo>
                      <a:pt x="487" y="363"/>
                    </a:lnTo>
                    <a:lnTo>
                      <a:pt x="458" y="400"/>
                    </a:lnTo>
                    <a:lnTo>
                      <a:pt x="479" y="354"/>
                    </a:lnTo>
                    <a:lnTo>
                      <a:pt x="469" y="343"/>
                    </a:lnTo>
                    <a:lnTo>
                      <a:pt x="297" y="387"/>
                    </a:lnTo>
                    <a:lnTo>
                      <a:pt x="320" y="459"/>
                    </a:lnTo>
                    <a:lnTo>
                      <a:pt x="268" y="425"/>
                    </a:lnTo>
                    <a:lnTo>
                      <a:pt x="248" y="400"/>
                    </a:lnTo>
                    <a:lnTo>
                      <a:pt x="193" y="425"/>
                    </a:lnTo>
                    <a:lnTo>
                      <a:pt x="200" y="470"/>
                    </a:lnTo>
                    <a:lnTo>
                      <a:pt x="144" y="444"/>
                    </a:lnTo>
                    <a:lnTo>
                      <a:pt x="109" y="440"/>
                    </a:lnTo>
                    <a:lnTo>
                      <a:pt x="57" y="449"/>
                    </a:lnTo>
                    <a:lnTo>
                      <a:pt x="19" y="483"/>
                    </a:lnTo>
                    <a:lnTo>
                      <a:pt x="13" y="507"/>
                    </a:lnTo>
                    <a:lnTo>
                      <a:pt x="23" y="529"/>
                    </a:lnTo>
                    <a:close/>
                  </a:path>
                </a:pathLst>
              </a:custGeom>
              <a:solidFill>
                <a:srgbClr val="000000"/>
              </a:solidFill>
              <a:ln w="9525">
                <a:noFill/>
                <a:round/>
                <a:headEnd/>
                <a:tailEnd/>
              </a:ln>
            </p:spPr>
            <p:txBody>
              <a:bodyPr/>
              <a:lstStyle/>
              <a:p>
                <a:endParaRPr lang="fr-FR"/>
              </a:p>
            </p:txBody>
          </p:sp>
          <p:sp>
            <p:nvSpPr>
              <p:cNvPr id="11312" name="Freeform 1054"/>
              <p:cNvSpPr>
                <a:spLocks/>
              </p:cNvSpPr>
              <p:nvPr/>
            </p:nvSpPr>
            <p:spPr bwMode="auto">
              <a:xfrm>
                <a:off x="3921" y="1919"/>
                <a:ext cx="82" cy="40"/>
              </a:xfrm>
              <a:custGeom>
                <a:avLst/>
                <a:gdLst>
                  <a:gd name="T0" fmla="*/ 0 w 244"/>
                  <a:gd name="T1" fmla="*/ 0 h 119"/>
                  <a:gd name="T2" fmla="*/ 0 w 244"/>
                  <a:gd name="T3" fmla="*/ 0 h 119"/>
                  <a:gd name="T4" fmla="*/ 0 w 244"/>
                  <a:gd name="T5" fmla="*/ 0 h 119"/>
                  <a:gd name="T6" fmla="*/ 0 w 244"/>
                  <a:gd name="T7" fmla="*/ 0 h 119"/>
                  <a:gd name="T8" fmla="*/ 0 w 244"/>
                  <a:gd name="T9" fmla="*/ 0 h 119"/>
                  <a:gd name="T10" fmla="*/ 0 w 244"/>
                  <a:gd name="T11" fmla="*/ 0 h 119"/>
                  <a:gd name="T12" fmla="*/ 0 w 244"/>
                  <a:gd name="T13" fmla="*/ 0 h 119"/>
                  <a:gd name="T14" fmla="*/ 0 w 244"/>
                  <a:gd name="T15" fmla="*/ 0 h 119"/>
                  <a:gd name="T16" fmla="*/ 0 w 244"/>
                  <a:gd name="T17" fmla="*/ 0 h 119"/>
                  <a:gd name="T18" fmla="*/ 0 w 244"/>
                  <a:gd name="T19" fmla="*/ 0 h 119"/>
                  <a:gd name="T20" fmla="*/ 0 w 244"/>
                  <a:gd name="T21" fmla="*/ 0 h 119"/>
                  <a:gd name="T22" fmla="*/ 0 w 244"/>
                  <a:gd name="T23" fmla="*/ 0 h 119"/>
                  <a:gd name="T24" fmla="*/ 0 w 244"/>
                  <a:gd name="T25" fmla="*/ 0 h 119"/>
                  <a:gd name="T26" fmla="*/ 0 w 244"/>
                  <a:gd name="T27" fmla="*/ 0 h 119"/>
                  <a:gd name="T28" fmla="*/ 0 w 244"/>
                  <a:gd name="T29" fmla="*/ 0 h 119"/>
                  <a:gd name="T30" fmla="*/ 0 w 244"/>
                  <a:gd name="T31" fmla="*/ 0 h 119"/>
                  <a:gd name="T32" fmla="*/ 0 w 244"/>
                  <a:gd name="T33" fmla="*/ 0 h 119"/>
                  <a:gd name="T34" fmla="*/ 0 w 244"/>
                  <a:gd name="T35" fmla="*/ 0 h 1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4"/>
                  <a:gd name="T55" fmla="*/ 0 h 119"/>
                  <a:gd name="T56" fmla="*/ 244 w 244"/>
                  <a:gd name="T57" fmla="*/ 119 h 1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4" h="119">
                    <a:moveTo>
                      <a:pt x="244" y="68"/>
                    </a:moveTo>
                    <a:lnTo>
                      <a:pt x="202" y="89"/>
                    </a:lnTo>
                    <a:lnTo>
                      <a:pt x="144" y="110"/>
                    </a:lnTo>
                    <a:lnTo>
                      <a:pt x="97" y="116"/>
                    </a:lnTo>
                    <a:lnTo>
                      <a:pt x="54" y="119"/>
                    </a:lnTo>
                    <a:lnTo>
                      <a:pt x="0" y="110"/>
                    </a:lnTo>
                    <a:lnTo>
                      <a:pt x="13" y="68"/>
                    </a:lnTo>
                    <a:lnTo>
                      <a:pt x="19" y="27"/>
                    </a:lnTo>
                    <a:lnTo>
                      <a:pt x="24" y="0"/>
                    </a:lnTo>
                    <a:lnTo>
                      <a:pt x="33" y="6"/>
                    </a:lnTo>
                    <a:lnTo>
                      <a:pt x="24" y="58"/>
                    </a:lnTo>
                    <a:lnTo>
                      <a:pt x="13" y="105"/>
                    </a:lnTo>
                    <a:lnTo>
                      <a:pt x="54" y="110"/>
                    </a:lnTo>
                    <a:lnTo>
                      <a:pt x="119" y="105"/>
                    </a:lnTo>
                    <a:lnTo>
                      <a:pt x="186" y="86"/>
                    </a:lnTo>
                    <a:lnTo>
                      <a:pt x="211" y="61"/>
                    </a:lnTo>
                    <a:lnTo>
                      <a:pt x="244" y="68"/>
                    </a:lnTo>
                    <a:close/>
                  </a:path>
                </a:pathLst>
              </a:custGeom>
              <a:solidFill>
                <a:srgbClr val="000000"/>
              </a:solidFill>
              <a:ln w="9525">
                <a:noFill/>
                <a:round/>
                <a:headEnd/>
                <a:tailEnd/>
              </a:ln>
            </p:spPr>
            <p:txBody>
              <a:bodyPr/>
              <a:lstStyle/>
              <a:p>
                <a:endParaRPr lang="fr-FR"/>
              </a:p>
            </p:txBody>
          </p:sp>
          <p:sp>
            <p:nvSpPr>
              <p:cNvPr id="11313" name="Freeform 1055"/>
              <p:cNvSpPr>
                <a:spLocks/>
              </p:cNvSpPr>
              <p:nvPr/>
            </p:nvSpPr>
            <p:spPr bwMode="auto">
              <a:xfrm>
                <a:off x="3883" y="1933"/>
                <a:ext cx="8" cy="23"/>
              </a:xfrm>
              <a:custGeom>
                <a:avLst/>
                <a:gdLst>
                  <a:gd name="T0" fmla="*/ 0 w 23"/>
                  <a:gd name="T1" fmla="*/ 0 h 67"/>
                  <a:gd name="T2" fmla="*/ 0 w 23"/>
                  <a:gd name="T3" fmla="*/ 0 h 67"/>
                  <a:gd name="T4" fmla="*/ 0 w 23"/>
                  <a:gd name="T5" fmla="*/ 0 h 67"/>
                  <a:gd name="T6" fmla="*/ 0 w 23"/>
                  <a:gd name="T7" fmla="*/ 0 h 67"/>
                  <a:gd name="T8" fmla="*/ 0 w 23"/>
                  <a:gd name="T9" fmla="*/ 0 h 67"/>
                  <a:gd name="T10" fmla="*/ 0 60000 65536"/>
                  <a:gd name="T11" fmla="*/ 0 60000 65536"/>
                  <a:gd name="T12" fmla="*/ 0 60000 65536"/>
                  <a:gd name="T13" fmla="*/ 0 60000 65536"/>
                  <a:gd name="T14" fmla="*/ 0 60000 65536"/>
                  <a:gd name="T15" fmla="*/ 0 w 23"/>
                  <a:gd name="T16" fmla="*/ 0 h 67"/>
                  <a:gd name="T17" fmla="*/ 23 w 23"/>
                  <a:gd name="T18" fmla="*/ 67 h 67"/>
                </a:gdLst>
                <a:ahLst/>
                <a:cxnLst>
                  <a:cxn ang="T10">
                    <a:pos x="T0" y="T1"/>
                  </a:cxn>
                  <a:cxn ang="T11">
                    <a:pos x="T2" y="T3"/>
                  </a:cxn>
                  <a:cxn ang="T12">
                    <a:pos x="T4" y="T5"/>
                  </a:cxn>
                  <a:cxn ang="T13">
                    <a:pos x="T6" y="T7"/>
                  </a:cxn>
                  <a:cxn ang="T14">
                    <a:pos x="T8" y="T9"/>
                  </a:cxn>
                </a:cxnLst>
                <a:rect l="T15" t="T16" r="T17" b="T18"/>
                <a:pathLst>
                  <a:path w="23" h="67">
                    <a:moveTo>
                      <a:pt x="23" y="67"/>
                    </a:moveTo>
                    <a:lnTo>
                      <a:pt x="0" y="9"/>
                    </a:lnTo>
                    <a:lnTo>
                      <a:pt x="13" y="0"/>
                    </a:lnTo>
                    <a:lnTo>
                      <a:pt x="23" y="67"/>
                    </a:lnTo>
                    <a:close/>
                  </a:path>
                </a:pathLst>
              </a:custGeom>
              <a:solidFill>
                <a:srgbClr val="000000"/>
              </a:solidFill>
              <a:ln w="9525">
                <a:noFill/>
                <a:round/>
                <a:headEnd/>
                <a:tailEnd/>
              </a:ln>
            </p:spPr>
            <p:txBody>
              <a:bodyPr/>
              <a:lstStyle/>
              <a:p>
                <a:endParaRPr lang="fr-FR"/>
              </a:p>
            </p:txBody>
          </p:sp>
          <p:sp>
            <p:nvSpPr>
              <p:cNvPr id="11314" name="Freeform 1056"/>
              <p:cNvSpPr>
                <a:spLocks/>
              </p:cNvSpPr>
              <p:nvPr/>
            </p:nvSpPr>
            <p:spPr bwMode="auto">
              <a:xfrm>
                <a:off x="3890" y="1923"/>
                <a:ext cx="31" cy="33"/>
              </a:xfrm>
              <a:custGeom>
                <a:avLst/>
                <a:gdLst>
                  <a:gd name="T0" fmla="*/ 0 w 95"/>
                  <a:gd name="T1" fmla="*/ 0 h 97"/>
                  <a:gd name="T2" fmla="*/ 0 w 95"/>
                  <a:gd name="T3" fmla="*/ 0 h 97"/>
                  <a:gd name="T4" fmla="*/ 0 w 95"/>
                  <a:gd name="T5" fmla="*/ 0 h 97"/>
                  <a:gd name="T6" fmla="*/ 0 w 95"/>
                  <a:gd name="T7" fmla="*/ 0 h 97"/>
                  <a:gd name="T8" fmla="*/ 0 w 95"/>
                  <a:gd name="T9" fmla="*/ 0 h 97"/>
                  <a:gd name="T10" fmla="*/ 0 w 95"/>
                  <a:gd name="T11" fmla="*/ 0 h 97"/>
                  <a:gd name="T12" fmla="*/ 0 w 95"/>
                  <a:gd name="T13" fmla="*/ 0 h 97"/>
                  <a:gd name="T14" fmla="*/ 0 w 95"/>
                  <a:gd name="T15" fmla="*/ 0 h 97"/>
                  <a:gd name="T16" fmla="*/ 0 w 95"/>
                  <a:gd name="T17" fmla="*/ 0 h 97"/>
                  <a:gd name="T18" fmla="*/ 0 w 95"/>
                  <a:gd name="T19" fmla="*/ 0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5"/>
                  <a:gd name="T31" fmla="*/ 0 h 97"/>
                  <a:gd name="T32" fmla="*/ 95 w 95"/>
                  <a:gd name="T33" fmla="*/ 97 h 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5" h="97">
                    <a:moveTo>
                      <a:pt x="7" y="97"/>
                    </a:moveTo>
                    <a:lnTo>
                      <a:pt x="42" y="73"/>
                    </a:lnTo>
                    <a:lnTo>
                      <a:pt x="65" y="48"/>
                    </a:lnTo>
                    <a:lnTo>
                      <a:pt x="95" y="0"/>
                    </a:lnTo>
                    <a:lnTo>
                      <a:pt x="86" y="6"/>
                    </a:lnTo>
                    <a:lnTo>
                      <a:pt x="65" y="35"/>
                    </a:lnTo>
                    <a:lnTo>
                      <a:pt x="37" y="58"/>
                    </a:lnTo>
                    <a:lnTo>
                      <a:pt x="0" y="82"/>
                    </a:lnTo>
                    <a:lnTo>
                      <a:pt x="7" y="97"/>
                    </a:lnTo>
                    <a:close/>
                  </a:path>
                </a:pathLst>
              </a:custGeom>
              <a:solidFill>
                <a:srgbClr val="000000"/>
              </a:solidFill>
              <a:ln w="9525">
                <a:noFill/>
                <a:round/>
                <a:headEnd/>
                <a:tailEnd/>
              </a:ln>
            </p:spPr>
            <p:txBody>
              <a:bodyPr/>
              <a:lstStyle/>
              <a:p>
                <a:endParaRPr lang="fr-FR"/>
              </a:p>
            </p:txBody>
          </p:sp>
          <p:sp>
            <p:nvSpPr>
              <p:cNvPr id="11315" name="Freeform 1057"/>
              <p:cNvSpPr>
                <a:spLocks/>
              </p:cNvSpPr>
              <p:nvPr/>
            </p:nvSpPr>
            <p:spPr bwMode="auto">
              <a:xfrm>
                <a:off x="3920" y="1897"/>
                <a:ext cx="11" cy="16"/>
              </a:xfrm>
              <a:custGeom>
                <a:avLst/>
                <a:gdLst>
                  <a:gd name="T0" fmla="*/ 0 w 34"/>
                  <a:gd name="T1" fmla="*/ 0 h 49"/>
                  <a:gd name="T2" fmla="*/ 0 w 34"/>
                  <a:gd name="T3" fmla="*/ 0 h 49"/>
                  <a:gd name="T4" fmla="*/ 0 w 34"/>
                  <a:gd name="T5" fmla="*/ 0 h 49"/>
                  <a:gd name="T6" fmla="*/ 0 w 34"/>
                  <a:gd name="T7" fmla="*/ 0 h 49"/>
                  <a:gd name="T8" fmla="*/ 0 w 34"/>
                  <a:gd name="T9" fmla="*/ 0 h 49"/>
                  <a:gd name="T10" fmla="*/ 0 w 34"/>
                  <a:gd name="T11" fmla="*/ 0 h 49"/>
                  <a:gd name="T12" fmla="*/ 0 w 34"/>
                  <a:gd name="T13" fmla="*/ 0 h 49"/>
                  <a:gd name="T14" fmla="*/ 0 w 34"/>
                  <a:gd name="T15" fmla="*/ 0 h 49"/>
                  <a:gd name="T16" fmla="*/ 0 w 34"/>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49"/>
                  <a:gd name="T29" fmla="*/ 34 w 34"/>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49">
                    <a:moveTo>
                      <a:pt x="0" y="49"/>
                    </a:moveTo>
                    <a:lnTo>
                      <a:pt x="0" y="5"/>
                    </a:lnTo>
                    <a:lnTo>
                      <a:pt x="17" y="0"/>
                    </a:lnTo>
                    <a:lnTo>
                      <a:pt x="34" y="43"/>
                    </a:lnTo>
                    <a:lnTo>
                      <a:pt x="23" y="39"/>
                    </a:lnTo>
                    <a:lnTo>
                      <a:pt x="13" y="19"/>
                    </a:lnTo>
                    <a:lnTo>
                      <a:pt x="9" y="43"/>
                    </a:lnTo>
                    <a:lnTo>
                      <a:pt x="0" y="49"/>
                    </a:lnTo>
                    <a:close/>
                  </a:path>
                </a:pathLst>
              </a:custGeom>
              <a:solidFill>
                <a:srgbClr val="000000"/>
              </a:solidFill>
              <a:ln w="9525">
                <a:noFill/>
                <a:round/>
                <a:headEnd/>
                <a:tailEnd/>
              </a:ln>
            </p:spPr>
            <p:txBody>
              <a:bodyPr/>
              <a:lstStyle/>
              <a:p>
                <a:endParaRPr lang="fr-FR"/>
              </a:p>
            </p:txBody>
          </p:sp>
          <p:sp>
            <p:nvSpPr>
              <p:cNvPr id="11316" name="Freeform 1058"/>
              <p:cNvSpPr>
                <a:spLocks/>
              </p:cNvSpPr>
              <p:nvPr/>
            </p:nvSpPr>
            <p:spPr bwMode="auto">
              <a:xfrm>
                <a:off x="3918" y="1868"/>
                <a:ext cx="216" cy="181"/>
              </a:xfrm>
              <a:custGeom>
                <a:avLst/>
                <a:gdLst>
                  <a:gd name="T0" fmla="*/ 0 w 648"/>
                  <a:gd name="T1" fmla="*/ 0 h 543"/>
                  <a:gd name="T2" fmla="*/ 0 w 648"/>
                  <a:gd name="T3" fmla="*/ 0 h 543"/>
                  <a:gd name="T4" fmla="*/ 0 w 648"/>
                  <a:gd name="T5" fmla="*/ 0 h 543"/>
                  <a:gd name="T6" fmla="*/ 0 w 648"/>
                  <a:gd name="T7" fmla="*/ 0 h 543"/>
                  <a:gd name="T8" fmla="*/ 0 w 648"/>
                  <a:gd name="T9" fmla="*/ 0 h 543"/>
                  <a:gd name="T10" fmla="*/ 0 w 648"/>
                  <a:gd name="T11" fmla="*/ 0 h 543"/>
                  <a:gd name="T12" fmla="*/ 0 w 648"/>
                  <a:gd name="T13" fmla="*/ 0 h 543"/>
                  <a:gd name="T14" fmla="*/ 0 w 648"/>
                  <a:gd name="T15" fmla="*/ 0 h 543"/>
                  <a:gd name="T16" fmla="*/ 0 w 648"/>
                  <a:gd name="T17" fmla="*/ 0 h 543"/>
                  <a:gd name="T18" fmla="*/ 0 w 648"/>
                  <a:gd name="T19" fmla="*/ 0 h 543"/>
                  <a:gd name="T20" fmla="*/ 0 w 648"/>
                  <a:gd name="T21" fmla="*/ 0 h 543"/>
                  <a:gd name="T22" fmla="*/ 0 w 648"/>
                  <a:gd name="T23" fmla="*/ 0 h 543"/>
                  <a:gd name="T24" fmla="*/ 0 w 648"/>
                  <a:gd name="T25" fmla="*/ 0 h 543"/>
                  <a:gd name="T26" fmla="*/ 0 w 648"/>
                  <a:gd name="T27" fmla="*/ 0 h 543"/>
                  <a:gd name="T28" fmla="*/ 0 w 648"/>
                  <a:gd name="T29" fmla="*/ 0 h 543"/>
                  <a:gd name="T30" fmla="*/ 0 w 648"/>
                  <a:gd name="T31" fmla="*/ 0 h 543"/>
                  <a:gd name="T32" fmla="*/ 0 w 648"/>
                  <a:gd name="T33" fmla="*/ 0 h 543"/>
                  <a:gd name="T34" fmla="*/ 0 w 648"/>
                  <a:gd name="T35" fmla="*/ 0 h 543"/>
                  <a:gd name="T36" fmla="*/ 0 w 648"/>
                  <a:gd name="T37" fmla="*/ 0 h 543"/>
                  <a:gd name="T38" fmla="*/ 0 w 648"/>
                  <a:gd name="T39" fmla="*/ 0 h 543"/>
                  <a:gd name="T40" fmla="*/ 0 w 648"/>
                  <a:gd name="T41" fmla="*/ 0 h 543"/>
                  <a:gd name="T42" fmla="*/ 0 w 648"/>
                  <a:gd name="T43" fmla="*/ 0 h 543"/>
                  <a:gd name="T44" fmla="*/ 0 w 648"/>
                  <a:gd name="T45" fmla="*/ 0 h 543"/>
                  <a:gd name="T46" fmla="*/ 0 w 648"/>
                  <a:gd name="T47" fmla="*/ 0 h 543"/>
                  <a:gd name="T48" fmla="*/ 0 w 648"/>
                  <a:gd name="T49" fmla="*/ 0 h 543"/>
                  <a:gd name="T50" fmla="*/ 0 w 648"/>
                  <a:gd name="T51" fmla="*/ 0 h 543"/>
                  <a:gd name="T52" fmla="*/ 0 w 648"/>
                  <a:gd name="T53" fmla="*/ 0 h 543"/>
                  <a:gd name="T54" fmla="*/ 0 w 648"/>
                  <a:gd name="T55" fmla="*/ 0 h 543"/>
                  <a:gd name="T56" fmla="*/ 0 w 648"/>
                  <a:gd name="T57" fmla="*/ 0 h 543"/>
                  <a:gd name="T58" fmla="*/ 0 w 648"/>
                  <a:gd name="T59" fmla="*/ 0 h 543"/>
                  <a:gd name="T60" fmla="*/ 0 w 648"/>
                  <a:gd name="T61" fmla="*/ 0 h 543"/>
                  <a:gd name="T62" fmla="*/ 0 w 648"/>
                  <a:gd name="T63" fmla="*/ 0 h 543"/>
                  <a:gd name="T64" fmla="*/ 0 w 648"/>
                  <a:gd name="T65" fmla="*/ 0 h 543"/>
                  <a:gd name="T66" fmla="*/ 0 w 648"/>
                  <a:gd name="T67" fmla="*/ 0 h 543"/>
                  <a:gd name="T68" fmla="*/ 0 w 648"/>
                  <a:gd name="T69" fmla="*/ 0 h 543"/>
                  <a:gd name="T70" fmla="*/ 0 w 648"/>
                  <a:gd name="T71" fmla="*/ 0 h 543"/>
                  <a:gd name="T72" fmla="*/ 0 w 648"/>
                  <a:gd name="T73" fmla="*/ 0 h 543"/>
                  <a:gd name="T74" fmla="*/ 0 w 648"/>
                  <a:gd name="T75" fmla="*/ 0 h 543"/>
                  <a:gd name="T76" fmla="*/ 0 w 648"/>
                  <a:gd name="T77" fmla="*/ 0 h 543"/>
                  <a:gd name="T78" fmla="*/ 0 w 648"/>
                  <a:gd name="T79" fmla="*/ 0 h 543"/>
                  <a:gd name="T80" fmla="*/ 0 w 648"/>
                  <a:gd name="T81" fmla="*/ 0 h 543"/>
                  <a:gd name="T82" fmla="*/ 0 w 648"/>
                  <a:gd name="T83" fmla="*/ 0 h 543"/>
                  <a:gd name="T84" fmla="*/ 0 w 648"/>
                  <a:gd name="T85" fmla="*/ 0 h 543"/>
                  <a:gd name="T86" fmla="*/ 0 w 648"/>
                  <a:gd name="T87" fmla="*/ 0 h 543"/>
                  <a:gd name="T88" fmla="*/ 0 w 648"/>
                  <a:gd name="T89" fmla="*/ 0 h 543"/>
                  <a:gd name="T90" fmla="*/ 0 w 648"/>
                  <a:gd name="T91" fmla="*/ 0 h 543"/>
                  <a:gd name="T92" fmla="*/ 0 w 648"/>
                  <a:gd name="T93" fmla="*/ 0 h 543"/>
                  <a:gd name="T94" fmla="*/ 0 w 648"/>
                  <a:gd name="T95" fmla="*/ 0 h 54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48"/>
                  <a:gd name="T145" fmla="*/ 0 h 543"/>
                  <a:gd name="T146" fmla="*/ 648 w 648"/>
                  <a:gd name="T147" fmla="*/ 543 h 54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48" h="543">
                    <a:moveTo>
                      <a:pt x="0" y="348"/>
                    </a:moveTo>
                    <a:lnTo>
                      <a:pt x="27" y="385"/>
                    </a:lnTo>
                    <a:lnTo>
                      <a:pt x="46" y="391"/>
                    </a:lnTo>
                    <a:lnTo>
                      <a:pt x="60" y="391"/>
                    </a:lnTo>
                    <a:lnTo>
                      <a:pt x="80" y="418"/>
                    </a:lnTo>
                    <a:lnTo>
                      <a:pt x="132" y="425"/>
                    </a:lnTo>
                    <a:lnTo>
                      <a:pt x="153" y="442"/>
                    </a:lnTo>
                    <a:lnTo>
                      <a:pt x="183" y="434"/>
                    </a:lnTo>
                    <a:lnTo>
                      <a:pt x="195" y="424"/>
                    </a:lnTo>
                    <a:lnTo>
                      <a:pt x="201" y="455"/>
                    </a:lnTo>
                    <a:lnTo>
                      <a:pt x="244" y="488"/>
                    </a:lnTo>
                    <a:lnTo>
                      <a:pt x="269" y="485"/>
                    </a:lnTo>
                    <a:lnTo>
                      <a:pt x="293" y="504"/>
                    </a:lnTo>
                    <a:lnTo>
                      <a:pt x="330" y="503"/>
                    </a:lnTo>
                    <a:lnTo>
                      <a:pt x="351" y="488"/>
                    </a:lnTo>
                    <a:lnTo>
                      <a:pt x="366" y="476"/>
                    </a:lnTo>
                    <a:lnTo>
                      <a:pt x="392" y="454"/>
                    </a:lnTo>
                    <a:lnTo>
                      <a:pt x="400" y="425"/>
                    </a:lnTo>
                    <a:lnTo>
                      <a:pt x="386" y="394"/>
                    </a:lnTo>
                    <a:lnTo>
                      <a:pt x="419" y="361"/>
                    </a:lnTo>
                    <a:lnTo>
                      <a:pt x="431" y="330"/>
                    </a:lnTo>
                    <a:lnTo>
                      <a:pt x="428" y="306"/>
                    </a:lnTo>
                    <a:lnTo>
                      <a:pt x="413" y="268"/>
                    </a:lnTo>
                    <a:lnTo>
                      <a:pt x="413" y="228"/>
                    </a:lnTo>
                    <a:lnTo>
                      <a:pt x="423" y="188"/>
                    </a:lnTo>
                    <a:lnTo>
                      <a:pt x="444" y="164"/>
                    </a:lnTo>
                    <a:lnTo>
                      <a:pt x="465" y="143"/>
                    </a:lnTo>
                    <a:lnTo>
                      <a:pt x="486" y="104"/>
                    </a:lnTo>
                    <a:lnTo>
                      <a:pt x="492" y="72"/>
                    </a:lnTo>
                    <a:lnTo>
                      <a:pt x="536" y="60"/>
                    </a:lnTo>
                    <a:lnTo>
                      <a:pt x="545" y="48"/>
                    </a:lnTo>
                    <a:lnTo>
                      <a:pt x="591" y="32"/>
                    </a:lnTo>
                    <a:lnTo>
                      <a:pt x="625" y="0"/>
                    </a:lnTo>
                    <a:lnTo>
                      <a:pt x="648" y="88"/>
                    </a:lnTo>
                    <a:lnTo>
                      <a:pt x="628" y="104"/>
                    </a:lnTo>
                    <a:lnTo>
                      <a:pt x="621" y="30"/>
                    </a:lnTo>
                    <a:lnTo>
                      <a:pt x="600" y="55"/>
                    </a:lnTo>
                    <a:lnTo>
                      <a:pt x="575" y="55"/>
                    </a:lnTo>
                    <a:lnTo>
                      <a:pt x="560" y="97"/>
                    </a:lnTo>
                    <a:lnTo>
                      <a:pt x="545" y="109"/>
                    </a:lnTo>
                    <a:lnTo>
                      <a:pt x="553" y="152"/>
                    </a:lnTo>
                    <a:lnTo>
                      <a:pt x="545" y="176"/>
                    </a:lnTo>
                    <a:lnTo>
                      <a:pt x="545" y="146"/>
                    </a:lnTo>
                    <a:lnTo>
                      <a:pt x="536" y="109"/>
                    </a:lnTo>
                    <a:lnTo>
                      <a:pt x="539" y="88"/>
                    </a:lnTo>
                    <a:lnTo>
                      <a:pt x="527" y="75"/>
                    </a:lnTo>
                    <a:lnTo>
                      <a:pt x="499" y="91"/>
                    </a:lnTo>
                    <a:lnTo>
                      <a:pt x="501" y="128"/>
                    </a:lnTo>
                    <a:lnTo>
                      <a:pt x="489" y="143"/>
                    </a:lnTo>
                    <a:lnTo>
                      <a:pt x="492" y="173"/>
                    </a:lnTo>
                    <a:lnTo>
                      <a:pt x="484" y="185"/>
                    </a:lnTo>
                    <a:lnTo>
                      <a:pt x="464" y="179"/>
                    </a:lnTo>
                    <a:lnTo>
                      <a:pt x="452" y="197"/>
                    </a:lnTo>
                    <a:lnTo>
                      <a:pt x="461" y="216"/>
                    </a:lnTo>
                    <a:lnTo>
                      <a:pt x="464" y="249"/>
                    </a:lnTo>
                    <a:lnTo>
                      <a:pt x="455" y="274"/>
                    </a:lnTo>
                    <a:lnTo>
                      <a:pt x="486" y="289"/>
                    </a:lnTo>
                    <a:lnTo>
                      <a:pt x="452" y="289"/>
                    </a:lnTo>
                    <a:lnTo>
                      <a:pt x="443" y="335"/>
                    </a:lnTo>
                    <a:lnTo>
                      <a:pt x="461" y="364"/>
                    </a:lnTo>
                    <a:lnTo>
                      <a:pt x="461" y="397"/>
                    </a:lnTo>
                    <a:lnTo>
                      <a:pt x="475" y="421"/>
                    </a:lnTo>
                    <a:lnTo>
                      <a:pt x="464" y="458"/>
                    </a:lnTo>
                    <a:lnTo>
                      <a:pt x="464" y="424"/>
                    </a:lnTo>
                    <a:lnTo>
                      <a:pt x="455" y="406"/>
                    </a:lnTo>
                    <a:lnTo>
                      <a:pt x="440" y="388"/>
                    </a:lnTo>
                    <a:lnTo>
                      <a:pt x="434" y="357"/>
                    </a:lnTo>
                    <a:lnTo>
                      <a:pt x="423" y="376"/>
                    </a:lnTo>
                    <a:lnTo>
                      <a:pt x="404" y="391"/>
                    </a:lnTo>
                    <a:lnTo>
                      <a:pt x="423" y="424"/>
                    </a:lnTo>
                    <a:lnTo>
                      <a:pt x="413" y="449"/>
                    </a:lnTo>
                    <a:lnTo>
                      <a:pt x="401" y="470"/>
                    </a:lnTo>
                    <a:lnTo>
                      <a:pt x="404" y="498"/>
                    </a:lnTo>
                    <a:lnTo>
                      <a:pt x="380" y="537"/>
                    </a:lnTo>
                    <a:lnTo>
                      <a:pt x="337" y="517"/>
                    </a:lnTo>
                    <a:lnTo>
                      <a:pt x="328" y="543"/>
                    </a:lnTo>
                    <a:lnTo>
                      <a:pt x="293" y="543"/>
                    </a:lnTo>
                    <a:lnTo>
                      <a:pt x="276" y="510"/>
                    </a:lnTo>
                    <a:lnTo>
                      <a:pt x="268" y="498"/>
                    </a:lnTo>
                    <a:lnTo>
                      <a:pt x="248" y="498"/>
                    </a:lnTo>
                    <a:lnTo>
                      <a:pt x="226" y="488"/>
                    </a:lnTo>
                    <a:lnTo>
                      <a:pt x="218" y="504"/>
                    </a:lnTo>
                    <a:lnTo>
                      <a:pt x="223" y="540"/>
                    </a:lnTo>
                    <a:lnTo>
                      <a:pt x="204" y="517"/>
                    </a:lnTo>
                    <a:lnTo>
                      <a:pt x="196" y="491"/>
                    </a:lnTo>
                    <a:lnTo>
                      <a:pt x="174" y="470"/>
                    </a:lnTo>
                    <a:lnTo>
                      <a:pt x="153" y="479"/>
                    </a:lnTo>
                    <a:lnTo>
                      <a:pt x="134" y="458"/>
                    </a:lnTo>
                    <a:lnTo>
                      <a:pt x="115" y="468"/>
                    </a:lnTo>
                    <a:lnTo>
                      <a:pt x="104" y="431"/>
                    </a:lnTo>
                    <a:lnTo>
                      <a:pt x="68" y="437"/>
                    </a:lnTo>
                    <a:lnTo>
                      <a:pt x="51" y="408"/>
                    </a:lnTo>
                    <a:lnTo>
                      <a:pt x="51" y="400"/>
                    </a:lnTo>
                    <a:lnTo>
                      <a:pt x="25" y="388"/>
                    </a:lnTo>
                    <a:lnTo>
                      <a:pt x="0" y="348"/>
                    </a:lnTo>
                    <a:close/>
                  </a:path>
                </a:pathLst>
              </a:custGeom>
              <a:solidFill>
                <a:srgbClr val="000000"/>
              </a:solidFill>
              <a:ln w="9525">
                <a:noFill/>
                <a:round/>
                <a:headEnd/>
                <a:tailEnd/>
              </a:ln>
            </p:spPr>
            <p:txBody>
              <a:bodyPr/>
              <a:lstStyle/>
              <a:p>
                <a:endParaRPr lang="fr-FR"/>
              </a:p>
            </p:txBody>
          </p:sp>
          <p:sp>
            <p:nvSpPr>
              <p:cNvPr id="11317" name="Freeform 1059"/>
              <p:cNvSpPr>
                <a:spLocks/>
              </p:cNvSpPr>
              <p:nvPr/>
            </p:nvSpPr>
            <p:spPr bwMode="auto">
              <a:xfrm>
                <a:off x="3896" y="1739"/>
                <a:ext cx="284" cy="178"/>
              </a:xfrm>
              <a:custGeom>
                <a:avLst/>
                <a:gdLst>
                  <a:gd name="T0" fmla="*/ 0 w 851"/>
                  <a:gd name="T1" fmla="*/ 0 h 533"/>
                  <a:gd name="T2" fmla="*/ 0 w 851"/>
                  <a:gd name="T3" fmla="*/ 0 h 533"/>
                  <a:gd name="T4" fmla="*/ 0 w 851"/>
                  <a:gd name="T5" fmla="*/ 0 h 533"/>
                  <a:gd name="T6" fmla="*/ 0 w 851"/>
                  <a:gd name="T7" fmla="*/ 0 h 533"/>
                  <a:gd name="T8" fmla="*/ 0 w 851"/>
                  <a:gd name="T9" fmla="*/ 0 h 533"/>
                  <a:gd name="T10" fmla="*/ 0 w 851"/>
                  <a:gd name="T11" fmla="*/ 0 h 533"/>
                  <a:gd name="T12" fmla="*/ 0 w 851"/>
                  <a:gd name="T13" fmla="*/ 0 h 533"/>
                  <a:gd name="T14" fmla="*/ 0 w 851"/>
                  <a:gd name="T15" fmla="*/ 0 h 533"/>
                  <a:gd name="T16" fmla="*/ 0 w 851"/>
                  <a:gd name="T17" fmla="*/ 0 h 533"/>
                  <a:gd name="T18" fmla="*/ 0 w 851"/>
                  <a:gd name="T19" fmla="*/ 0 h 533"/>
                  <a:gd name="T20" fmla="*/ 0 w 851"/>
                  <a:gd name="T21" fmla="*/ 0 h 533"/>
                  <a:gd name="T22" fmla="*/ 0 w 851"/>
                  <a:gd name="T23" fmla="*/ 0 h 533"/>
                  <a:gd name="T24" fmla="*/ 0 w 851"/>
                  <a:gd name="T25" fmla="*/ 0 h 533"/>
                  <a:gd name="T26" fmla="*/ 0 w 851"/>
                  <a:gd name="T27" fmla="*/ 0 h 533"/>
                  <a:gd name="T28" fmla="*/ 0 w 851"/>
                  <a:gd name="T29" fmla="*/ 0 h 533"/>
                  <a:gd name="T30" fmla="*/ 0 w 851"/>
                  <a:gd name="T31" fmla="*/ 0 h 533"/>
                  <a:gd name="T32" fmla="*/ 0 w 851"/>
                  <a:gd name="T33" fmla="*/ 0 h 533"/>
                  <a:gd name="T34" fmla="*/ 0 w 851"/>
                  <a:gd name="T35" fmla="*/ 0 h 533"/>
                  <a:gd name="T36" fmla="*/ 0 w 851"/>
                  <a:gd name="T37" fmla="*/ 0 h 533"/>
                  <a:gd name="T38" fmla="*/ 0 w 851"/>
                  <a:gd name="T39" fmla="*/ 0 h 533"/>
                  <a:gd name="T40" fmla="*/ 0 w 851"/>
                  <a:gd name="T41" fmla="*/ 0 h 533"/>
                  <a:gd name="T42" fmla="*/ 0 w 851"/>
                  <a:gd name="T43" fmla="*/ 0 h 533"/>
                  <a:gd name="T44" fmla="*/ 0 w 851"/>
                  <a:gd name="T45" fmla="*/ 0 h 533"/>
                  <a:gd name="T46" fmla="*/ 0 w 851"/>
                  <a:gd name="T47" fmla="*/ 0 h 533"/>
                  <a:gd name="T48" fmla="*/ 0 w 851"/>
                  <a:gd name="T49" fmla="*/ 0 h 533"/>
                  <a:gd name="T50" fmla="*/ 0 w 851"/>
                  <a:gd name="T51" fmla="*/ 0 h 533"/>
                  <a:gd name="T52" fmla="*/ 0 w 851"/>
                  <a:gd name="T53" fmla="*/ 0 h 533"/>
                  <a:gd name="T54" fmla="*/ 0 w 851"/>
                  <a:gd name="T55" fmla="*/ 0 h 533"/>
                  <a:gd name="T56" fmla="*/ 0 w 851"/>
                  <a:gd name="T57" fmla="*/ 0 h 533"/>
                  <a:gd name="T58" fmla="*/ 0 w 851"/>
                  <a:gd name="T59" fmla="*/ 0 h 533"/>
                  <a:gd name="T60" fmla="*/ 0 w 851"/>
                  <a:gd name="T61" fmla="*/ 0 h 533"/>
                  <a:gd name="T62" fmla="*/ 0 w 851"/>
                  <a:gd name="T63" fmla="*/ 0 h 533"/>
                  <a:gd name="T64" fmla="*/ 0 w 851"/>
                  <a:gd name="T65" fmla="*/ 0 h 533"/>
                  <a:gd name="T66" fmla="*/ 0 w 851"/>
                  <a:gd name="T67" fmla="*/ 0 h 533"/>
                  <a:gd name="T68" fmla="*/ 0 w 851"/>
                  <a:gd name="T69" fmla="*/ 0 h 533"/>
                  <a:gd name="T70" fmla="*/ 0 w 851"/>
                  <a:gd name="T71" fmla="*/ 0 h 533"/>
                  <a:gd name="T72" fmla="*/ 0 w 851"/>
                  <a:gd name="T73" fmla="*/ 0 h 533"/>
                  <a:gd name="T74" fmla="*/ 0 w 851"/>
                  <a:gd name="T75" fmla="*/ 0 h 533"/>
                  <a:gd name="T76" fmla="*/ 0 w 851"/>
                  <a:gd name="T77" fmla="*/ 0 h 533"/>
                  <a:gd name="T78" fmla="*/ 0 w 851"/>
                  <a:gd name="T79" fmla="*/ 0 h 533"/>
                  <a:gd name="T80" fmla="*/ 0 w 851"/>
                  <a:gd name="T81" fmla="*/ 0 h 533"/>
                  <a:gd name="T82" fmla="*/ 0 w 851"/>
                  <a:gd name="T83" fmla="*/ 0 h 533"/>
                  <a:gd name="T84" fmla="*/ 0 w 851"/>
                  <a:gd name="T85" fmla="*/ 0 h 533"/>
                  <a:gd name="T86" fmla="*/ 0 w 851"/>
                  <a:gd name="T87" fmla="*/ 0 h 533"/>
                  <a:gd name="T88" fmla="*/ 0 w 851"/>
                  <a:gd name="T89" fmla="*/ 0 h 533"/>
                  <a:gd name="T90" fmla="*/ 0 w 851"/>
                  <a:gd name="T91" fmla="*/ 0 h 533"/>
                  <a:gd name="T92" fmla="*/ 0 w 851"/>
                  <a:gd name="T93" fmla="*/ 0 h 533"/>
                  <a:gd name="T94" fmla="*/ 0 w 851"/>
                  <a:gd name="T95" fmla="*/ 0 h 533"/>
                  <a:gd name="T96" fmla="*/ 0 w 851"/>
                  <a:gd name="T97" fmla="*/ 0 h 533"/>
                  <a:gd name="T98" fmla="*/ 0 w 851"/>
                  <a:gd name="T99" fmla="*/ 0 h 533"/>
                  <a:gd name="T100" fmla="*/ 0 w 851"/>
                  <a:gd name="T101" fmla="*/ 0 h 533"/>
                  <a:gd name="T102" fmla="*/ 0 w 851"/>
                  <a:gd name="T103" fmla="*/ 0 h 533"/>
                  <a:gd name="T104" fmla="*/ 0 w 851"/>
                  <a:gd name="T105" fmla="*/ 0 h 533"/>
                  <a:gd name="T106" fmla="*/ 0 w 851"/>
                  <a:gd name="T107" fmla="*/ 0 h 533"/>
                  <a:gd name="T108" fmla="*/ 0 w 851"/>
                  <a:gd name="T109" fmla="*/ 0 h 533"/>
                  <a:gd name="T110" fmla="*/ 0 w 851"/>
                  <a:gd name="T111" fmla="*/ 0 h 533"/>
                  <a:gd name="T112" fmla="*/ 0 w 851"/>
                  <a:gd name="T113" fmla="*/ 0 h 533"/>
                  <a:gd name="T114" fmla="*/ 0 w 851"/>
                  <a:gd name="T115" fmla="*/ 0 h 533"/>
                  <a:gd name="T116" fmla="*/ 0 w 851"/>
                  <a:gd name="T117" fmla="*/ 0 h 53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51"/>
                  <a:gd name="T178" fmla="*/ 0 h 533"/>
                  <a:gd name="T179" fmla="*/ 851 w 851"/>
                  <a:gd name="T180" fmla="*/ 533 h 53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51" h="533">
                    <a:moveTo>
                      <a:pt x="837" y="9"/>
                    </a:moveTo>
                    <a:lnTo>
                      <a:pt x="811" y="41"/>
                    </a:lnTo>
                    <a:lnTo>
                      <a:pt x="799" y="68"/>
                    </a:lnTo>
                    <a:lnTo>
                      <a:pt x="795" y="114"/>
                    </a:lnTo>
                    <a:lnTo>
                      <a:pt x="790" y="153"/>
                    </a:lnTo>
                    <a:lnTo>
                      <a:pt x="770" y="184"/>
                    </a:lnTo>
                    <a:lnTo>
                      <a:pt x="738" y="197"/>
                    </a:lnTo>
                    <a:lnTo>
                      <a:pt x="685" y="206"/>
                    </a:lnTo>
                    <a:lnTo>
                      <a:pt x="651" y="202"/>
                    </a:lnTo>
                    <a:lnTo>
                      <a:pt x="630" y="221"/>
                    </a:lnTo>
                    <a:lnTo>
                      <a:pt x="600" y="233"/>
                    </a:lnTo>
                    <a:lnTo>
                      <a:pt x="566" y="233"/>
                    </a:lnTo>
                    <a:lnTo>
                      <a:pt x="548" y="260"/>
                    </a:lnTo>
                    <a:lnTo>
                      <a:pt x="522" y="275"/>
                    </a:lnTo>
                    <a:lnTo>
                      <a:pt x="490" y="278"/>
                    </a:lnTo>
                    <a:lnTo>
                      <a:pt x="479" y="295"/>
                    </a:lnTo>
                    <a:lnTo>
                      <a:pt x="459" y="304"/>
                    </a:lnTo>
                    <a:lnTo>
                      <a:pt x="444" y="318"/>
                    </a:lnTo>
                    <a:lnTo>
                      <a:pt x="418" y="312"/>
                    </a:lnTo>
                    <a:lnTo>
                      <a:pt x="403" y="338"/>
                    </a:lnTo>
                    <a:lnTo>
                      <a:pt x="367" y="353"/>
                    </a:lnTo>
                    <a:lnTo>
                      <a:pt x="335" y="341"/>
                    </a:lnTo>
                    <a:lnTo>
                      <a:pt x="320" y="374"/>
                    </a:lnTo>
                    <a:lnTo>
                      <a:pt x="280" y="393"/>
                    </a:lnTo>
                    <a:lnTo>
                      <a:pt x="250" y="393"/>
                    </a:lnTo>
                    <a:lnTo>
                      <a:pt x="192" y="411"/>
                    </a:lnTo>
                    <a:lnTo>
                      <a:pt x="171" y="431"/>
                    </a:lnTo>
                    <a:lnTo>
                      <a:pt x="138" y="435"/>
                    </a:lnTo>
                    <a:lnTo>
                      <a:pt x="109" y="419"/>
                    </a:lnTo>
                    <a:lnTo>
                      <a:pt x="69" y="431"/>
                    </a:lnTo>
                    <a:lnTo>
                      <a:pt x="27" y="466"/>
                    </a:lnTo>
                    <a:lnTo>
                      <a:pt x="0" y="533"/>
                    </a:lnTo>
                    <a:lnTo>
                      <a:pt x="36" y="475"/>
                    </a:lnTo>
                    <a:lnTo>
                      <a:pt x="88" y="439"/>
                    </a:lnTo>
                    <a:lnTo>
                      <a:pt x="147" y="442"/>
                    </a:lnTo>
                    <a:lnTo>
                      <a:pt x="187" y="438"/>
                    </a:lnTo>
                    <a:lnTo>
                      <a:pt x="241" y="414"/>
                    </a:lnTo>
                    <a:lnTo>
                      <a:pt x="263" y="399"/>
                    </a:lnTo>
                    <a:lnTo>
                      <a:pt x="290" y="398"/>
                    </a:lnTo>
                    <a:lnTo>
                      <a:pt x="332" y="377"/>
                    </a:lnTo>
                    <a:lnTo>
                      <a:pt x="343" y="358"/>
                    </a:lnTo>
                    <a:lnTo>
                      <a:pt x="378" y="358"/>
                    </a:lnTo>
                    <a:lnTo>
                      <a:pt x="415" y="353"/>
                    </a:lnTo>
                    <a:lnTo>
                      <a:pt x="431" y="327"/>
                    </a:lnTo>
                    <a:lnTo>
                      <a:pt x="452" y="327"/>
                    </a:lnTo>
                    <a:lnTo>
                      <a:pt x="501" y="282"/>
                    </a:lnTo>
                    <a:lnTo>
                      <a:pt x="553" y="270"/>
                    </a:lnTo>
                    <a:lnTo>
                      <a:pt x="583" y="248"/>
                    </a:lnTo>
                    <a:lnTo>
                      <a:pt x="635" y="233"/>
                    </a:lnTo>
                    <a:lnTo>
                      <a:pt x="655" y="217"/>
                    </a:lnTo>
                    <a:lnTo>
                      <a:pt x="710" y="214"/>
                    </a:lnTo>
                    <a:lnTo>
                      <a:pt x="779" y="193"/>
                    </a:lnTo>
                    <a:lnTo>
                      <a:pt x="805" y="154"/>
                    </a:lnTo>
                    <a:lnTo>
                      <a:pt x="808" y="120"/>
                    </a:lnTo>
                    <a:lnTo>
                      <a:pt x="808" y="80"/>
                    </a:lnTo>
                    <a:lnTo>
                      <a:pt x="819" y="41"/>
                    </a:lnTo>
                    <a:lnTo>
                      <a:pt x="851" y="0"/>
                    </a:lnTo>
                    <a:lnTo>
                      <a:pt x="837" y="9"/>
                    </a:lnTo>
                    <a:close/>
                  </a:path>
                </a:pathLst>
              </a:custGeom>
              <a:solidFill>
                <a:srgbClr val="000000"/>
              </a:solidFill>
              <a:ln w="9525">
                <a:noFill/>
                <a:round/>
                <a:headEnd/>
                <a:tailEnd/>
              </a:ln>
            </p:spPr>
            <p:txBody>
              <a:bodyPr/>
              <a:lstStyle/>
              <a:p>
                <a:endParaRPr lang="fr-FR"/>
              </a:p>
            </p:txBody>
          </p:sp>
          <p:sp>
            <p:nvSpPr>
              <p:cNvPr id="11318" name="Freeform 1060"/>
              <p:cNvSpPr>
                <a:spLocks/>
              </p:cNvSpPr>
              <p:nvPr/>
            </p:nvSpPr>
            <p:spPr bwMode="auto">
              <a:xfrm>
                <a:off x="3940" y="1908"/>
                <a:ext cx="70" cy="39"/>
              </a:xfrm>
              <a:custGeom>
                <a:avLst/>
                <a:gdLst>
                  <a:gd name="T0" fmla="*/ 0 w 210"/>
                  <a:gd name="T1" fmla="*/ 0 h 119"/>
                  <a:gd name="T2" fmla="*/ 0 w 210"/>
                  <a:gd name="T3" fmla="*/ 0 h 119"/>
                  <a:gd name="T4" fmla="*/ 0 w 210"/>
                  <a:gd name="T5" fmla="*/ 0 h 119"/>
                  <a:gd name="T6" fmla="*/ 0 w 210"/>
                  <a:gd name="T7" fmla="*/ 0 h 119"/>
                  <a:gd name="T8" fmla="*/ 0 w 210"/>
                  <a:gd name="T9" fmla="*/ 0 h 119"/>
                  <a:gd name="T10" fmla="*/ 0 w 210"/>
                  <a:gd name="T11" fmla="*/ 0 h 119"/>
                  <a:gd name="T12" fmla="*/ 0 w 210"/>
                  <a:gd name="T13" fmla="*/ 0 h 119"/>
                  <a:gd name="T14" fmla="*/ 0 w 210"/>
                  <a:gd name="T15" fmla="*/ 0 h 119"/>
                  <a:gd name="T16" fmla="*/ 0 w 210"/>
                  <a:gd name="T17" fmla="*/ 0 h 119"/>
                  <a:gd name="T18" fmla="*/ 0 w 210"/>
                  <a:gd name="T19" fmla="*/ 0 h 119"/>
                  <a:gd name="T20" fmla="*/ 0 w 210"/>
                  <a:gd name="T21" fmla="*/ 0 h 119"/>
                  <a:gd name="T22" fmla="*/ 0 w 210"/>
                  <a:gd name="T23" fmla="*/ 0 h 119"/>
                  <a:gd name="T24" fmla="*/ 0 w 210"/>
                  <a:gd name="T25" fmla="*/ 0 h 119"/>
                  <a:gd name="T26" fmla="*/ 0 w 210"/>
                  <a:gd name="T27" fmla="*/ 0 h 119"/>
                  <a:gd name="T28" fmla="*/ 0 w 210"/>
                  <a:gd name="T29" fmla="*/ 0 h 119"/>
                  <a:gd name="T30" fmla="*/ 0 w 210"/>
                  <a:gd name="T31" fmla="*/ 0 h 119"/>
                  <a:gd name="T32" fmla="*/ 0 w 210"/>
                  <a:gd name="T33" fmla="*/ 0 h 119"/>
                  <a:gd name="T34" fmla="*/ 0 w 210"/>
                  <a:gd name="T35" fmla="*/ 0 h 119"/>
                  <a:gd name="T36" fmla="*/ 0 w 210"/>
                  <a:gd name="T37" fmla="*/ 0 h 119"/>
                  <a:gd name="T38" fmla="*/ 0 w 210"/>
                  <a:gd name="T39" fmla="*/ 0 h 119"/>
                  <a:gd name="T40" fmla="*/ 0 w 210"/>
                  <a:gd name="T41" fmla="*/ 0 h 119"/>
                  <a:gd name="T42" fmla="*/ 0 w 210"/>
                  <a:gd name="T43" fmla="*/ 0 h 119"/>
                  <a:gd name="T44" fmla="*/ 0 w 210"/>
                  <a:gd name="T45" fmla="*/ 0 h 119"/>
                  <a:gd name="T46" fmla="*/ 0 w 210"/>
                  <a:gd name="T47" fmla="*/ 0 h 119"/>
                  <a:gd name="T48" fmla="*/ 0 w 210"/>
                  <a:gd name="T49" fmla="*/ 0 h 119"/>
                  <a:gd name="T50" fmla="*/ 0 w 210"/>
                  <a:gd name="T51" fmla="*/ 0 h 119"/>
                  <a:gd name="T52" fmla="*/ 0 w 210"/>
                  <a:gd name="T53" fmla="*/ 0 h 119"/>
                  <a:gd name="T54" fmla="*/ 0 w 210"/>
                  <a:gd name="T55" fmla="*/ 0 h 119"/>
                  <a:gd name="T56" fmla="*/ 0 w 210"/>
                  <a:gd name="T57" fmla="*/ 0 h 119"/>
                  <a:gd name="T58" fmla="*/ 0 w 210"/>
                  <a:gd name="T59" fmla="*/ 0 h 119"/>
                  <a:gd name="T60" fmla="*/ 0 w 210"/>
                  <a:gd name="T61" fmla="*/ 0 h 119"/>
                  <a:gd name="T62" fmla="*/ 0 w 210"/>
                  <a:gd name="T63" fmla="*/ 0 h 119"/>
                  <a:gd name="T64" fmla="*/ 0 w 210"/>
                  <a:gd name="T65" fmla="*/ 0 h 119"/>
                  <a:gd name="T66" fmla="*/ 0 w 210"/>
                  <a:gd name="T67" fmla="*/ 0 h 119"/>
                  <a:gd name="T68" fmla="*/ 0 w 210"/>
                  <a:gd name="T69" fmla="*/ 0 h 119"/>
                  <a:gd name="T70" fmla="*/ 0 w 210"/>
                  <a:gd name="T71" fmla="*/ 0 h 119"/>
                  <a:gd name="T72" fmla="*/ 0 w 210"/>
                  <a:gd name="T73" fmla="*/ 0 h 119"/>
                  <a:gd name="T74" fmla="*/ 0 w 210"/>
                  <a:gd name="T75" fmla="*/ 0 h 119"/>
                  <a:gd name="T76" fmla="*/ 0 w 210"/>
                  <a:gd name="T77" fmla="*/ 0 h 119"/>
                  <a:gd name="T78" fmla="*/ 0 w 210"/>
                  <a:gd name="T79" fmla="*/ 0 h 119"/>
                  <a:gd name="T80" fmla="*/ 0 w 210"/>
                  <a:gd name="T81" fmla="*/ 0 h 119"/>
                  <a:gd name="T82" fmla="*/ 0 w 210"/>
                  <a:gd name="T83" fmla="*/ 0 h 119"/>
                  <a:gd name="T84" fmla="*/ 0 w 210"/>
                  <a:gd name="T85" fmla="*/ 0 h 119"/>
                  <a:gd name="T86" fmla="*/ 0 w 210"/>
                  <a:gd name="T87" fmla="*/ 0 h 119"/>
                  <a:gd name="T88" fmla="*/ 0 w 210"/>
                  <a:gd name="T89" fmla="*/ 0 h 119"/>
                  <a:gd name="T90" fmla="*/ 0 w 210"/>
                  <a:gd name="T91" fmla="*/ 0 h 119"/>
                  <a:gd name="T92" fmla="*/ 0 w 210"/>
                  <a:gd name="T93" fmla="*/ 0 h 119"/>
                  <a:gd name="T94" fmla="*/ 0 w 210"/>
                  <a:gd name="T95" fmla="*/ 0 h 119"/>
                  <a:gd name="T96" fmla="*/ 0 w 210"/>
                  <a:gd name="T97" fmla="*/ 0 h 1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0"/>
                  <a:gd name="T148" fmla="*/ 0 h 119"/>
                  <a:gd name="T149" fmla="*/ 210 w 210"/>
                  <a:gd name="T150" fmla="*/ 119 h 11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0" h="119">
                    <a:moveTo>
                      <a:pt x="35" y="21"/>
                    </a:moveTo>
                    <a:lnTo>
                      <a:pt x="47" y="34"/>
                    </a:lnTo>
                    <a:lnTo>
                      <a:pt x="43" y="50"/>
                    </a:lnTo>
                    <a:lnTo>
                      <a:pt x="31" y="71"/>
                    </a:lnTo>
                    <a:lnTo>
                      <a:pt x="5" y="90"/>
                    </a:lnTo>
                    <a:lnTo>
                      <a:pt x="0" y="116"/>
                    </a:lnTo>
                    <a:lnTo>
                      <a:pt x="16" y="93"/>
                    </a:lnTo>
                    <a:lnTo>
                      <a:pt x="38" y="85"/>
                    </a:lnTo>
                    <a:lnTo>
                      <a:pt x="54" y="98"/>
                    </a:lnTo>
                    <a:lnTo>
                      <a:pt x="62" y="114"/>
                    </a:lnTo>
                    <a:lnTo>
                      <a:pt x="62" y="93"/>
                    </a:lnTo>
                    <a:lnTo>
                      <a:pt x="47" y="74"/>
                    </a:lnTo>
                    <a:lnTo>
                      <a:pt x="53" y="62"/>
                    </a:lnTo>
                    <a:lnTo>
                      <a:pt x="63" y="85"/>
                    </a:lnTo>
                    <a:lnTo>
                      <a:pt x="54" y="55"/>
                    </a:lnTo>
                    <a:lnTo>
                      <a:pt x="59" y="41"/>
                    </a:lnTo>
                    <a:lnTo>
                      <a:pt x="81" y="55"/>
                    </a:lnTo>
                    <a:lnTo>
                      <a:pt x="87" y="79"/>
                    </a:lnTo>
                    <a:lnTo>
                      <a:pt x="84" y="93"/>
                    </a:lnTo>
                    <a:lnTo>
                      <a:pt x="92" y="119"/>
                    </a:lnTo>
                    <a:lnTo>
                      <a:pt x="90" y="93"/>
                    </a:lnTo>
                    <a:lnTo>
                      <a:pt x="111" y="102"/>
                    </a:lnTo>
                    <a:lnTo>
                      <a:pt x="123" y="119"/>
                    </a:lnTo>
                    <a:lnTo>
                      <a:pt x="117" y="98"/>
                    </a:lnTo>
                    <a:lnTo>
                      <a:pt x="96" y="82"/>
                    </a:lnTo>
                    <a:lnTo>
                      <a:pt x="90" y="58"/>
                    </a:lnTo>
                    <a:lnTo>
                      <a:pt x="152" y="85"/>
                    </a:lnTo>
                    <a:lnTo>
                      <a:pt x="166" y="82"/>
                    </a:lnTo>
                    <a:lnTo>
                      <a:pt x="129" y="61"/>
                    </a:lnTo>
                    <a:lnTo>
                      <a:pt x="157" y="55"/>
                    </a:lnTo>
                    <a:lnTo>
                      <a:pt x="184" y="44"/>
                    </a:lnTo>
                    <a:lnTo>
                      <a:pt x="210" y="55"/>
                    </a:lnTo>
                    <a:lnTo>
                      <a:pt x="187" y="37"/>
                    </a:lnTo>
                    <a:lnTo>
                      <a:pt x="194" y="6"/>
                    </a:lnTo>
                    <a:lnTo>
                      <a:pt x="175" y="34"/>
                    </a:lnTo>
                    <a:lnTo>
                      <a:pt x="152" y="46"/>
                    </a:lnTo>
                    <a:lnTo>
                      <a:pt x="120" y="46"/>
                    </a:lnTo>
                    <a:lnTo>
                      <a:pt x="87" y="41"/>
                    </a:lnTo>
                    <a:lnTo>
                      <a:pt x="68" y="28"/>
                    </a:lnTo>
                    <a:lnTo>
                      <a:pt x="117" y="24"/>
                    </a:lnTo>
                    <a:lnTo>
                      <a:pt x="142" y="31"/>
                    </a:lnTo>
                    <a:lnTo>
                      <a:pt x="129" y="18"/>
                    </a:lnTo>
                    <a:lnTo>
                      <a:pt x="138" y="0"/>
                    </a:lnTo>
                    <a:lnTo>
                      <a:pt x="117" y="13"/>
                    </a:lnTo>
                    <a:lnTo>
                      <a:pt x="68" y="21"/>
                    </a:lnTo>
                    <a:lnTo>
                      <a:pt x="59" y="24"/>
                    </a:lnTo>
                    <a:lnTo>
                      <a:pt x="49" y="10"/>
                    </a:lnTo>
                    <a:lnTo>
                      <a:pt x="35" y="21"/>
                    </a:lnTo>
                    <a:close/>
                  </a:path>
                </a:pathLst>
              </a:custGeom>
              <a:solidFill>
                <a:srgbClr val="000000"/>
              </a:solidFill>
              <a:ln w="9525">
                <a:noFill/>
                <a:round/>
                <a:headEnd/>
                <a:tailEnd/>
              </a:ln>
            </p:spPr>
            <p:txBody>
              <a:bodyPr/>
              <a:lstStyle/>
              <a:p>
                <a:endParaRPr lang="fr-FR"/>
              </a:p>
            </p:txBody>
          </p:sp>
          <p:sp>
            <p:nvSpPr>
              <p:cNvPr id="11319" name="Freeform 1061"/>
              <p:cNvSpPr>
                <a:spLocks/>
              </p:cNvSpPr>
              <p:nvPr/>
            </p:nvSpPr>
            <p:spPr bwMode="auto">
              <a:xfrm>
                <a:off x="3918" y="1727"/>
                <a:ext cx="238" cy="123"/>
              </a:xfrm>
              <a:custGeom>
                <a:avLst/>
                <a:gdLst>
                  <a:gd name="T0" fmla="*/ 0 w 712"/>
                  <a:gd name="T1" fmla="*/ 0 h 370"/>
                  <a:gd name="T2" fmla="*/ 0 w 712"/>
                  <a:gd name="T3" fmla="*/ 0 h 370"/>
                  <a:gd name="T4" fmla="*/ 0 w 712"/>
                  <a:gd name="T5" fmla="*/ 0 h 370"/>
                  <a:gd name="T6" fmla="*/ 0 w 712"/>
                  <a:gd name="T7" fmla="*/ 0 h 370"/>
                  <a:gd name="T8" fmla="*/ 0 w 712"/>
                  <a:gd name="T9" fmla="*/ 0 h 370"/>
                  <a:gd name="T10" fmla="*/ 0 w 712"/>
                  <a:gd name="T11" fmla="*/ 0 h 370"/>
                  <a:gd name="T12" fmla="*/ 0 w 712"/>
                  <a:gd name="T13" fmla="*/ 0 h 370"/>
                  <a:gd name="T14" fmla="*/ 0 w 712"/>
                  <a:gd name="T15" fmla="*/ 0 h 370"/>
                  <a:gd name="T16" fmla="*/ 0 w 712"/>
                  <a:gd name="T17" fmla="*/ 0 h 370"/>
                  <a:gd name="T18" fmla="*/ 0 w 712"/>
                  <a:gd name="T19" fmla="*/ 0 h 370"/>
                  <a:gd name="T20" fmla="*/ 0 w 712"/>
                  <a:gd name="T21" fmla="*/ 0 h 370"/>
                  <a:gd name="T22" fmla="*/ 0 w 712"/>
                  <a:gd name="T23" fmla="*/ 0 h 370"/>
                  <a:gd name="T24" fmla="*/ 0 w 712"/>
                  <a:gd name="T25" fmla="*/ 0 h 370"/>
                  <a:gd name="T26" fmla="*/ 0 w 712"/>
                  <a:gd name="T27" fmla="*/ 0 h 370"/>
                  <a:gd name="T28" fmla="*/ 0 w 712"/>
                  <a:gd name="T29" fmla="*/ 0 h 370"/>
                  <a:gd name="T30" fmla="*/ 0 w 712"/>
                  <a:gd name="T31" fmla="*/ 0 h 370"/>
                  <a:gd name="T32" fmla="*/ 0 w 712"/>
                  <a:gd name="T33" fmla="*/ 0 h 370"/>
                  <a:gd name="T34" fmla="*/ 0 w 712"/>
                  <a:gd name="T35" fmla="*/ 0 h 370"/>
                  <a:gd name="T36" fmla="*/ 0 w 712"/>
                  <a:gd name="T37" fmla="*/ 0 h 370"/>
                  <a:gd name="T38" fmla="*/ 0 w 712"/>
                  <a:gd name="T39" fmla="*/ 0 h 370"/>
                  <a:gd name="T40" fmla="*/ 0 w 712"/>
                  <a:gd name="T41" fmla="*/ 0 h 370"/>
                  <a:gd name="T42" fmla="*/ 0 w 712"/>
                  <a:gd name="T43" fmla="*/ 0 h 370"/>
                  <a:gd name="T44" fmla="*/ 0 w 712"/>
                  <a:gd name="T45" fmla="*/ 0 h 370"/>
                  <a:gd name="T46" fmla="*/ 0 w 712"/>
                  <a:gd name="T47" fmla="*/ 0 h 370"/>
                  <a:gd name="T48" fmla="*/ 0 w 712"/>
                  <a:gd name="T49" fmla="*/ 0 h 370"/>
                  <a:gd name="T50" fmla="*/ 0 w 712"/>
                  <a:gd name="T51" fmla="*/ 0 h 370"/>
                  <a:gd name="T52" fmla="*/ 0 w 712"/>
                  <a:gd name="T53" fmla="*/ 0 h 370"/>
                  <a:gd name="T54" fmla="*/ 0 w 712"/>
                  <a:gd name="T55" fmla="*/ 0 h 370"/>
                  <a:gd name="T56" fmla="*/ 0 w 712"/>
                  <a:gd name="T57" fmla="*/ 0 h 370"/>
                  <a:gd name="T58" fmla="*/ 0 w 712"/>
                  <a:gd name="T59" fmla="*/ 0 h 370"/>
                  <a:gd name="T60" fmla="*/ 0 w 712"/>
                  <a:gd name="T61" fmla="*/ 0 h 370"/>
                  <a:gd name="T62" fmla="*/ 0 w 712"/>
                  <a:gd name="T63" fmla="*/ 0 h 370"/>
                  <a:gd name="T64" fmla="*/ 0 w 712"/>
                  <a:gd name="T65" fmla="*/ 0 h 370"/>
                  <a:gd name="T66" fmla="*/ 0 w 712"/>
                  <a:gd name="T67" fmla="*/ 0 h 370"/>
                  <a:gd name="T68" fmla="*/ 0 w 712"/>
                  <a:gd name="T69" fmla="*/ 0 h 370"/>
                  <a:gd name="T70" fmla="*/ 0 w 712"/>
                  <a:gd name="T71" fmla="*/ 0 h 370"/>
                  <a:gd name="T72" fmla="*/ 0 w 712"/>
                  <a:gd name="T73" fmla="*/ 0 h 370"/>
                  <a:gd name="T74" fmla="*/ 0 w 712"/>
                  <a:gd name="T75" fmla="*/ 0 h 370"/>
                  <a:gd name="T76" fmla="*/ 0 w 712"/>
                  <a:gd name="T77" fmla="*/ 0 h 370"/>
                  <a:gd name="T78" fmla="*/ 0 w 712"/>
                  <a:gd name="T79" fmla="*/ 0 h 370"/>
                  <a:gd name="T80" fmla="*/ 0 w 712"/>
                  <a:gd name="T81" fmla="*/ 0 h 370"/>
                  <a:gd name="T82" fmla="*/ 0 w 712"/>
                  <a:gd name="T83" fmla="*/ 0 h 370"/>
                  <a:gd name="T84" fmla="*/ 0 w 712"/>
                  <a:gd name="T85" fmla="*/ 0 h 370"/>
                  <a:gd name="T86" fmla="*/ 0 w 712"/>
                  <a:gd name="T87" fmla="*/ 0 h 370"/>
                  <a:gd name="T88" fmla="*/ 0 w 712"/>
                  <a:gd name="T89" fmla="*/ 0 h 3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12"/>
                  <a:gd name="T136" fmla="*/ 0 h 370"/>
                  <a:gd name="T137" fmla="*/ 712 w 712"/>
                  <a:gd name="T138" fmla="*/ 370 h 3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12" h="370">
                    <a:moveTo>
                      <a:pt x="21" y="370"/>
                    </a:moveTo>
                    <a:lnTo>
                      <a:pt x="19" y="323"/>
                    </a:lnTo>
                    <a:lnTo>
                      <a:pt x="27" y="285"/>
                    </a:lnTo>
                    <a:lnTo>
                      <a:pt x="45" y="277"/>
                    </a:lnTo>
                    <a:lnTo>
                      <a:pt x="54" y="294"/>
                    </a:lnTo>
                    <a:lnTo>
                      <a:pt x="73" y="248"/>
                    </a:lnTo>
                    <a:lnTo>
                      <a:pt x="119" y="222"/>
                    </a:lnTo>
                    <a:lnTo>
                      <a:pt x="165" y="239"/>
                    </a:lnTo>
                    <a:lnTo>
                      <a:pt x="186" y="199"/>
                    </a:lnTo>
                    <a:lnTo>
                      <a:pt x="236" y="178"/>
                    </a:lnTo>
                    <a:lnTo>
                      <a:pt x="276" y="178"/>
                    </a:lnTo>
                    <a:lnTo>
                      <a:pt x="336" y="136"/>
                    </a:lnTo>
                    <a:lnTo>
                      <a:pt x="376" y="121"/>
                    </a:lnTo>
                    <a:lnTo>
                      <a:pt x="385" y="99"/>
                    </a:lnTo>
                    <a:lnTo>
                      <a:pt x="423" y="123"/>
                    </a:lnTo>
                    <a:lnTo>
                      <a:pt x="423" y="105"/>
                    </a:lnTo>
                    <a:lnTo>
                      <a:pt x="464" y="93"/>
                    </a:lnTo>
                    <a:lnTo>
                      <a:pt x="526" y="105"/>
                    </a:lnTo>
                    <a:lnTo>
                      <a:pt x="530" y="84"/>
                    </a:lnTo>
                    <a:lnTo>
                      <a:pt x="596" y="75"/>
                    </a:lnTo>
                    <a:lnTo>
                      <a:pt x="603" y="58"/>
                    </a:lnTo>
                    <a:lnTo>
                      <a:pt x="655" y="41"/>
                    </a:lnTo>
                    <a:lnTo>
                      <a:pt x="674" y="26"/>
                    </a:lnTo>
                    <a:lnTo>
                      <a:pt x="712" y="49"/>
                    </a:lnTo>
                    <a:lnTo>
                      <a:pt x="703" y="0"/>
                    </a:lnTo>
                    <a:lnTo>
                      <a:pt x="618" y="9"/>
                    </a:lnTo>
                    <a:lnTo>
                      <a:pt x="579" y="52"/>
                    </a:lnTo>
                    <a:lnTo>
                      <a:pt x="542" y="61"/>
                    </a:lnTo>
                    <a:lnTo>
                      <a:pt x="513" y="81"/>
                    </a:lnTo>
                    <a:lnTo>
                      <a:pt x="443" y="75"/>
                    </a:lnTo>
                    <a:lnTo>
                      <a:pt x="412" y="96"/>
                    </a:lnTo>
                    <a:lnTo>
                      <a:pt x="380" y="81"/>
                    </a:lnTo>
                    <a:lnTo>
                      <a:pt x="343" y="107"/>
                    </a:lnTo>
                    <a:lnTo>
                      <a:pt x="325" y="129"/>
                    </a:lnTo>
                    <a:lnTo>
                      <a:pt x="263" y="166"/>
                    </a:lnTo>
                    <a:lnTo>
                      <a:pt x="205" y="176"/>
                    </a:lnTo>
                    <a:lnTo>
                      <a:pt x="165" y="199"/>
                    </a:lnTo>
                    <a:lnTo>
                      <a:pt x="153" y="222"/>
                    </a:lnTo>
                    <a:lnTo>
                      <a:pt x="107" y="214"/>
                    </a:lnTo>
                    <a:lnTo>
                      <a:pt x="57" y="239"/>
                    </a:lnTo>
                    <a:lnTo>
                      <a:pt x="51" y="263"/>
                    </a:lnTo>
                    <a:lnTo>
                      <a:pt x="19" y="270"/>
                    </a:lnTo>
                    <a:lnTo>
                      <a:pt x="0" y="307"/>
                    </a:lnTo>
                    <a:lnTo>
                      <a:pt x="21" y="370"/>
                    </a:lnTo>
                    <a:close/>
                  </a:path>
                </a:pathLst>
              </a:custGeom>
              <a:solidFill>
                <a:srgbClr val="000000"/>
              </a:solidFill>
              <a:ln w="9525">
                <a:noFill/>
                <a:round/>
                <a:headEnd/>
                <a:tailEnd/>
              </a:ln>
            </p:spPr>
            <p:txBody>
              <a:bodyPr/>
              <a:lstStyle/>
              <a:p>
                <a:endParaRPr lang="fr-FR"/>
              </a:p>
            </p:txBody>
          </p:sp>
          <p:sp>
            <p:nvSpPr>
              <p:cNvPr id="11320" name="Freeform 1062"/>
              <p:cNvSpPr>
                <a:spLocks/>
              </p:cNvSpPr>
              <p:nvPr/>
            </p:nvSpPr>
            <p:spPr bwMode="auto">
              <a:xfrm>
                <a:off x="4085" y="1920"/>
                <a:ext cx="88" cy="116"/>
              </a:xfrm>
              <a:custGeom>
                <a:avLst/>
                <a:gdLst>
                  <a:gd name="T0" fmla="*/ 0 w 265"/>
                  <a:gd name="T1" fmla="*/ 0 h 348"/>
                  <a:gd name="T2" fmla="*/ 0 w 265"/>
                  <a:gd name="T3" fmla="*/ 0 h 348"/>
                  <a:gd name="T4" fmla="*/ 0 w 265"/>
                  <a:gd name="T5" fmla="*/ 0 h 348"/>
                  <a:gd name="T6" fmla="*/ 0 w 265"/>
                  <a:gd name="T7" fmla="*/ 0 h 348"/>
                  <a:gd name="T8" fmla="*/ 0 w 265"/>
                  <a:gd name="T9" fmla="*/ 0 h 348"/>
                  <a:gd name="T10" fmla="*/ 0 w 265"/>
                  <a:gd name="T11" fmla="*/ 0 h 348"/>
                  <a:gd name="T12" fmla="*/ 0 w 265"/>
                  <a:gd name="T13" fmla="*/ 0 h 348"/>
                  <a:gd name="T14" fmla="*/ 0 w 265"/>
                  <a:gd name="T15" fmla="*/ 0 h 348"/>
                  <a:gd name="T16" fmla="*/ 0 w 265"/>
                  <a:gd name="T17" fmla="*/ 0 h 348"/>
                  <a:gd name="T18" fmla="*/ 0 w 265"/>
                  <a:gd name="T19" fmla="*/ 0 h 348"/>
                  <a:gd name="T20" fmla="*/ 0 w 265"/>
                  <a:gd name="T21" fmla="*/ 0 h 348"/>
                  <a:gd name="T22" fmla="*/ 0 w 265"/>
                  <a:gd name="T23" fmla="*/ 0 h 348"/>
                  <a:gd name="T24" fmla="*/ 0 w 265"/>
                  <a:gd name="T25" fmla="*/ 0 h 348"/>
                  <a:gd name="T26" fmla="*/ 0 w 265"/>
                  <a:gd name="T27" fmla="*/ 0 h 348"/>
                  <a:gd name="T28" fmla="*/ 0 w 265"/>
                  <a:gd name="T29" fmla="*/ 0 h 348"/>
                  <a:gd name="T30" fmla="*/ 0 w 265"/>
                  <a:gd name="T31" fmla="*/ 0 h 348"/>
                  <a:gd name="T32" fmla="*/ 0 w 265"/>
                  <a:gd name="T33" fmla="*/ 0 h 348"/>
                  <a:gd name="T34" fmla="*/ 0 w 265"/>
                  <a:gd name="T35" fmla="*/ 0 h 348"/>
                  <a:gd name="T36" fmla="*/ 0 w 265"/>
                  <a:gd name="T37" fmla="*/ 0 h 348"/>
                  <a:gd name="T38" fmla="*/ 0 w 265"/>
                  <a:gd name="T39" fmla="*/ 0 h 348"/>
                  <a:gd name="T40" fmla="*/ 0 w 265"/>
                  <a:gd name="T41" fmla="*/ 0 h 348"/>
                  <a:gd name="T42" fmla="*/ 0 w 265"/>
                  <a:gd name="T43" fmla="*/ 0 h 348"/>
                  <a:gd name="T44" fmla="*/ 0 w 265"/>
                  <a:gd name="T45" fmla="*/ 0 h 348"/>
                  <a:gd name="T46" fmla="*/ 0 w 265"/>
                  <a:gd name="T47" fmla="*/ 0 h 348"/>
                  <a:gd name="T48" fmla="*/ 0 w 265"/>
                  <a:gd name="T49" fmla="*/ 0 h 348"/>
                  <a:gd name="T50" fmla="*/ 0 w 265"/>
                  <a:gd name="T51" fmla="*/ 0 h 348"/>
                  <a:gd name="T52" fmla="*/ 0 w 265"/>
                  <a:gd name="T53" fmla="*/ 0 h 348"/>
                  <a:gd name="T54" fmla="*/ 0 w 265"/>
                  <a:gd name="T55" fmla="*/ 0 h 348"/>
                  <a:gd name="T56" fmla="*/ 0 w 265"/>
                  <a:gd name="T57" fmla="*/ 0 h 348"/>
                  <a:gd name="T58" fmla="*/ 0 w 265"/>
                  <a:gd name="T59" fmla="*/ 0 h 348"/>
                  <a:gd name="T60" fmla="*/ 0 w 265"/>
                  <a:gd name="T61" fmla="*/ 0 h 348"/>
                  <a:gd name="T62" fmla="*/ 0 w 265"/>
                  <a:gd name="T63" fmla="*/ 0 h 348"/>
                  <a:gd name="T64" fmla="*/ 0 w 265"/>
                  <a:gd name="T65" fmla="*/ 0 h 348"/>
                  <a:gd name="T66" fmla="*/ 0 w 265"/>
                  <a:gd name="T67" fmla="*/ 0 h 348"/>
                  <a:gd name="T68" fmla="*/ 0 w 265"/>
                  <a:gd name="T69" fmla="*/ 0 h 348"/>
                  <a:gd name="T70" fmla="*/ 0 w 265"/>
                  <a:gd name="T71" fmla="*/ 0 h 3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5"/>
                  <a:gd name="T109" fmla="*/ 0 h 348"/>
                  <a:gd name="T110" fmla="*/ 265 w 265"/>
                  <a:gd name="T111" fmla="*/ 348 h 34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5" h="348">
                    <a:moveTo>
                      <a:pt x="0" y="33"/>
                    </a:moveTo>
                    <a:lnTo>
                      <a:pt x="17" y="61"/>
                    </a:lnTo>
                    <a:lnTo>
                      <a:pt x="31" y="102"/>
                    </a:lnTo>
                    <a:lnTo>
                      <a:pt x="27" y="113"/>
                    </a:lnTo>
                    <a:lnTo>
                      <a:pt x="9" y="113"/>
                    </a:lnTo>
                    <a:lnTo>
                      <a:pt x="5" y="131"/>
                    </a:lnTo>
                    <a:lnTo>
                      <a:pt x="52" y="146"/>
                    </a:lnTo>
                    <a:lnTo>
                      <a:pt x="80" y="140"/>
                    </a:lnTo>
                    <a:lnTo>
                      <a:pt x="126" y="165"/>
                    </a:lnTo>
                    <a:lnTo>
                      <a:pt x="116" y="189"/>
                    </a:lnTo>
                    <a:lnTo>
                      <a:pt x="128" y="209"/>
                    </a:lnTo>
                    <a:lnTo>
                      <a:pt x="156" y="193"/>
                    </a:lnTo>
                    <a:lnTo>
                      <a:pt x="196" y="215"/>
                    </a:lnTo>
                    <a:lnTo>
                      <a:pt x="201" y="253"/>
                    </a:lnTo>
                    <a:lnTo>
                      <a:pt x="224" y="269"/>
                    </a:lnTo>
                    <a:lnTo>
                      <a:pt x="229" y="290"/>
                    </a:lnTo>
                    <a:lnTo>
                      <a:pt x="224" y="348"/>
                    </a:lnTo>
                    <a:lnTo>
                      <a:pt x="251" y="306"/>
                    </a:lnTo>
                    <a:lnTo>
                      <a:pt x="265" y="276"/>
                    </a:lnTo>
                    <a:lnTo>
                      <a:pt x="260" y="221"/>
                    </a:lnTo>
                    <a:lnTo>
                      <a:pt x="233" y="184"/>
                    </a:lnTo>
                    <a:lnTo>
                      <a:pt x="184" y="171"/>
                    </a:lnTo>
                    <a:lnTo>
                      <a:pt x="144" y="175"/>
                    </a:lnTo>
                    <a:lnTo>
                      <a:pt x="141" y="146"/>
                    </a:lnTo>
                    <a:lnTo>
                      <a:pt x="107" y="129"/>
                    </a:lnTo>
                    <a:lnTo>
                      <a:pt x="61" y="126"/>
                    </a:lnTo>
                    <a:lnTo>
                      <a:pt x="60" y="95"/>
                    </a:lnTo>
                    <a:lnTo>
                      <a:pt x="43" y="89"/>
                    </a:lnTo>
                    <a:lnTo>
                      <a:pt x="49" y="61"/>
                    </a:lnTo>
                    <a:lnTo>
                      <a:pt x="40" y="49"/>
                    </a:lnTo>
                    <a:lnTo>
                      <a:pt x="60" y="37"/>
                    </a:lnTo>
                    <a:lnTo>
                      <a:pt x="52" y="0"/>
                    </a:lnTo>
                    <a:lnTo>
                      <a:pt x="31" y="37"/>
                    </a:lnTo>
                    <a:lnTo>
                      <a:pt x="20" y="42"/>
                    </a:lnTo>
                    <a:lnTo>
                      <a:pt x="0" y="33"/>
                    </a:lnTo>
                    <a:close/>
                  </a:path>
                </a:pathLst>
              </a:custGeom>
              <a:solidFill>
                <a:srgbClr val="000000"/>
              </a:solidFill>
              <a:ln w="9525">
                <a:noFill/>
                <a:round/>
                <a:headEnd/>
                <a:tailEnd/>
              </a:ln>
            </p:spPr>
            <p:txBody>
              <a:bodyPr/>
              <a:lstStyle/>
              <a:p>
                <a:endParaRPr lang="fr-FR"/>
              </a:p>
            </p:txBody>
          </p:sp>
          <p:sp>
            <p:nvSpPr>
              <p:cNvPr id="11321" name="Freeform 1063"/>
              <p:cNvSpPr>
                <a:spLocks/>
              </p:cNvSpPr>
              <p:nvPr/>
            </p:nvSpPr>
            <p:spPr bwMode="auto">
              <a:xfrm>
                <a:off x="4091" y="1980"/>
                <a:ext cx="26" cy="64"/>
              </a:xfrm>
              <a:custGeom>
                <a:avLst/>
                <a:gdLst>
                  <a:gd name="T0" fmla="*/ 0 w 77"/>
                  <a:gd name="T1" fmla="*/ 0 h 193"/>
                  <a:gd name="T2" fmla="*/ 0 w 77"/>
                  <a:gd name="T3" fmla="*/ 0 h 193"/>
                  <a:gd name="T4" fmla="*/ 0 w 77"/>
                  <a:gd name="T5" fmla="*/ 0 h 193"/>
                  <a:gd name="T6" fmla="*/ 0 w 77"/>
                  <a:gd name="T7" fmla="*/ 0 h 193"/>
                  <a:gd name="T8" fmla="*/ 0 w 77"/>
                  <a:gd name="T9" fmla="*/ 0 h 193"/>
                  <a:gd name="T10" fmla="*/ 0 w 77"/>
                  <a:gd name="T11" fmla="*/ 0 h 193"/>
                  <a:gd name="T12" fmla="*/ 0 w 77"/>
                  <a:gd name="T13" fmla="*/ 0 h 193"/>
                  <a:gd name="T14" fmla="*/ 0 w 77"/>
                  <a:gd name="T15" fmla="*/ 0 h 193"/>
                  <a:gd name="T16" fmla="*/ 0 w 77"/>
                  <a:gd name="T17" fmla="*/ 0 h 193"/>
                  <a:gd name="T18" fmla="*/ 0 w 77"/>
                  <a:gd name="T19" fmla="*/ 0 h 193"/>
                  <a:gd name="T20" fmla="*/ 0 w 77"/>
                  <a:gd name="T21" fmla="*/ 0 h 193"/>
                  <a:gd name="T22" fmla="*/ 0 w 77"/>
                  <a:gd name="T23" fmla="*/ 0 h 193"/>
                  <a:gd name="T24" fmla="*/ 0 w 77"/>
                  <a:gd name="T25" fmla="*/ 0 h 193"/>
                  <a:gd name="T26" fmla="*/ 0 w 77"/>
                  <a:gd name="T27" fmla="*/ 0 h 193"/>
                  <a:gd name="T28" fmla="*/ 0 w 77"/>
                  <a:gd name="T29" fmla="*/ 0 h 193"/>
                  <a:gd name="T30" fmla="*/ 0 w 77"/>
                  <a:gd name="T31" fmla="*/ 0 h 193"/>
                  <a:gd name="T32" fmla="*/ 0 w 77"/>
                  <a:gd name="T33" fmla="*/ 0 h 1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7"/>
                  <a:gd name="T52" fmla="*/ 0 h 193"/>
                  <a:gd name="T53" fmla="*/ 77 w 77"/>
                  <a:gd name="T54" fmla="*/ 193 h 1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7" h="193">
                    <a:moveTo>
                      <a:pt x="11" y="0"/>
                    </a:moveTo>
                    <a:lnTo>
                      <a:pt x="29" y="34"/>
                    </a:lnTo>
                    <a:lnTo>
                      <a:pt x="17" y="59"/>
                    </a:lnTo>
                    <a:lnTo>
                      <a:pt x="0" y="89"/>
                    </a:lnTo>
                    <a:lnTo>
                      <a:pt x="29" y="123"/>
                    </a:lnTo>
                    <a:lnTo>
                      <a:pt x="53" y="141"/>
                    </a:lnTo>
                    <a:lnTo>
                      <a:pt x="56" y="174"/>
                    </a:lnTo>
                    <a:lnTo>
                      <a:pt x="44" y="193"/>
                    </a:lnTo>
                    <a:lnTo>
                      <a:pt x="69" y="169"/>
                    </a:lnTo>
                    <a:lnTo>
                      <a:pt x="77" y="135"/>
                    </a:lnTo>
                    <a:lnTo>
                      <a:pt x="59" y="110"/>
                    </a:lnTo>
                    <a:lnTo>
                      <a:pt x="77" y="78"/>
                    </a:lnTo>
                    <a:lnTo>
                      <a:pt x="41" y="78"/>
                    </a:lnTo>
                    <a:lnTo>
                      <a:pt x="46" y="38"/>
                    </a:lnTo>
                    <a:lnTo>
                      <a:pt x="26" y="9"/>
                    </a:lnTo>
                    <a:lnTo>
                      <a:pt x="11" y="0"/>
                    </a:lnTo>
                    <a:close/>
                  </a:path>
                </a:pathLst>
              </a:custGeom>
              <a:solidFill>
                <a:srgbClr val="000000"/>
              </a:solidFill>
              <a:ln w="9525">
                <a:noFill/>
                <a:round/>
                <a:headEnd/>
                <a:tailEnd/>
              </a:ln>
            </p:spPr>
            <p:txBody>
              <a:bodyPr/>
              <a:lstStyle/>
              <a:p>
                <a:endParaRPr lang="fr-FR"/>
              </a:p>
            </p:txBody>
          </p:sp>
          <p:sp>
            <p:nvSpPr>
              <p:cNvPr id="11322" name="Freeform 1064"/>
              <p:cNvSpPr>
                <a:spLocks/>
              </p:cNvSpPr>
              <p:nvPr/>
            </p:nvSpPr>
            <p:spPr bwMode="auto">
              <a:xfrm>
                <a:off x="4064" y="2025"/>
                <a:ext cx="35" cy="57"/>
              </a:xfrm>
              <a:custGeom>
                <a:avLst/>
                <a:gdLst>
                  <a:gd name="T0" fmla="*/ 0 w 104"/>
                  <a:gd name="T1" fmla="*/ 0 h 172"/>
                  <a:gd name="T2" fmla="*/ 0 w 104"/>
                  <a:gd name="T3" fmla="*/ 0 h 172"/>
                  <a:gd name="T4" fmla="*/ 0 w 104"/>
                  <a:gd name="T5" fmla="*/ 0 h 172"/>
                  <a:gd name="T6" fmla="*/ 0 w 104"/>
                  <a:gd name="T7" fmla="*/ 0 h 172"/>
                  <a:gd name="T8" fmla="*/ 0 w 104"/>
                  <a:gd name="T9" fmla="*/ 0 h 172"/>
                  <a:gd name="T10" fmla="*/ 0 w 104"/>
                  <a:gd name="T11" fmla="*/ 0 h 172"/>
                  <a:gd name="T12" fmla="*/ 0 w 104"/>
                  <a:gd name="T13" fmla="*/ 0 h 172"/>
                  <a:gd name="T14" fmla="*/ 0 w 104"/>
                  <a:gd name="T15" fmla="*/ 0 h 172"/>
                  <a:gd name="T16" fmla="*/ 0 w 104"/>
                  <a:gd name="T17" fmla="*/ 0 h 172"/>
                  <a:gd name="T18" fmla="*/ 0 w 104"/>
                  <a:gd name="T19" fmla="*/ 0 h 172"/>
                  <a:gd name="T20" fmla="*/ 0 w 104"/>
                  <a:gd name="T21" fmla="*/ 0 h 172"/>
                  <a:gd name="T22" fmla="*/ 0 w 104"/>
                  <a:gd name="T23" fmla="*/ 0 h 172"/>
                  <a:gd name="T24" fmla="*/ 0 w 104"/>
                  <a:gd name="T25" fmla="*/ 0 h 172"/>
                  <a:gd name="T26" fmla="*/ 0 w 104"/>
                  <a:gd name="T27" fmla="*/ 0 h 172"/>
                  <a:gd name="T28" fmla="*/ 0 w 104"/>
                  <a:gd name="T29" fmla="*/ 0 h 172"/>
                  <a:gd name="T30" fmla="*/ 0 w 104"/>
                  <a:gd name="T31" fmla="*/ 0 h 172"/>
                  <a:gd name="T32" fmla="*/ 0 w 104"/>
                  <a:gd name="T33" fmla="*/ 0 h 172"/>
                  <a:gd name="T34" fmla="*/ 0 w 104"/>
                  <a:gd name="T35" fmla="*/ 0 h 172"/>
                  <a:gd name="T36" fmla="*/ 0 w 104"/>
                  <a:gd name="T37" fmla="*/ 0 h 172"/>
                  <a:gd name="T38" fmla="*/ 0 w 104"/>
                  <a:gd name="T39" fmla="*/ 0 h 172"/>
                  <a:gd name="T40" fmla="*/ 0 w 104"/>
                  <a:gd name="T41" fmla="*/ 0 h 172"/>
                  <a:gd name="T42" fmla="*/ 0 w 104"/>
                  <a:gd name="T43" fmla="*/ 0 h 172"/>
                  <a:gd name="T44" fmla="*/ 0 w 104"/>
                  <a:gd name="T45" fmla="*/ 0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72"/>
                  <a:gd name="T71" fmla="*/ 104 w 104"/>
                  <a:gd name="T72" fmla="*/ 172 h 1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72">
                    <a:moveTo>
                      <a:pt x="63" y="0"/>
                    </a:moveTo>
                    <a:lnTo>
                      <a:pt x="48" y="33"/>
                    </a:lnTo>
                    <a:lnTo>
                      <a:pt x="2" y="47"/>
                    </a:lnTo>
                    <a:lnTo>
                      <a:pt x="0" y="73"/>
                    </a:lnTo>
                    <a:lnTo>
                      <a:pt x="30" y="98"/>
                    </a:lnTo>
                    <a:lnTo>
                      <a:pt x="43" y="134"/>
                    </a:lnTo>
                    <a:lnTo>
                      <a:pt x="48" y="172"/>
                    </a:lnTo>
                    <a:lnTo>
                      <a:pt x="66" y="131"/>
                    </a:lnTo>
                    <a:lnTo>
                      <a:pt x="61" y="98"/>
                    </a:lnTo>
                    <a:lnTo>
                      <a:pt x="48" y="108"/>
                    </a:lnTo>
                    <a:lnTo>
                      <a:pt x="26" y="77"/>
                    </a:lnTo>
                    <a:lnTo>
                      <a:pt x="17" y="64"/>
                    </a:lnTo>
                    <a:lnTo>
                      <a:pt x="51" y="47"/>
                    </a:lnTo>
                    <a:lnTo>
                      <a:pt x="63" y="25"/>
                    </a:lnTo>
                    <a:lnTo>
                      <a:pt x="70" y="70"/>
                    </a:lnTo>
                    <a:lnTo>
                      <a:pt x="92" y="96"/>
                    </a:lnTo>
                    <a:lnTo>
                      <a:pt x="104" y="128"/>
                    </a:lnTo>
                    <a:lnTo>
                      <a:pt x="101" y="88"/>
                    </a:lnTo>
                    <a:lnTo>
                      <a:pt x="83" y="70"/>
                    </a:lnTo>
                    <a:lnTo>
                      <a:pt x="89" y="39"/>
                    </a:lnTo>
                    <a:lnTo>
                      <a:pt x="78" y="6"/>
                    </a:lnTo>
                    <a:lnTo>
                      <a:pt x="63" y="0"/>
                    </a:lnTo>
                    <a:close/>
                  </a:path>
                </a:pathLst>
              </a:custGeom>
              <a:solidFill>
                <a:srgbClr val="000000"/>
              </a:solidFill>
              <a:ln w="9525">
                <a:noFill/>
                <a:round/>
                <a:headEnd/>
                <a:tailEnd/>
              </a:ln>
            </p:spPr>
            <p:txBody>
              <a:bodyPr/>
              <a:lstStyle/>
              <a:p>
                <a:endParaRPr lang="fr-FR"/>
              </a:p>
            </p:txBody>
          </p:sp>
          <p:sp>
            <p:nvSpPr>
              <p:cNvPr id="11323" name="Freeform 1065"/>
              <p:cNvSpPr>
                <a:spLocks/>
              </p:cNvSpPr>
              <p:nvPr/>
            </p:nvSpPr>
            <p:spPr bwMode="auto">
              <a:xfrm>
                <a:off x="4008" y="2051"/>
                <a:ext cx="50" cy="41"/>
              </a:xfrm>
              <a:custGeom>
                <a:avLst/>
                <a:gdLst>
                  <a:gd name="T0" fmla="*/ 0 w 151"/>
                  <a:gd name="T1" fmla="*/ 0 h 125"/>
                  <a:gd name="T2" fmla="*/ 0 w 151"/>
                  <a:gd name="T3" fmla="*/ 0 h 125"/>
                  <a:gd name="T4" fmla="*/ 0 w 151"/>
                  <a:gd name="T5" fmla="*/ 0 h 125"/>
                  <a:gd name="T6" fmla="*/ 0 w 151"/>
                  <a:gd name="T7" fmla="*/ 0 h 125"/>
                  <a:gd name="T8" fmla="*/ 0 w 151"/>
                  <a:gd name="T9" fmla="*/ 0 h 125"/>
                  <a:gd name="T10" fmla="*/ 0 w 151"/>
                  <a:gd name="T11" fmla="*/ 0 h 125"/>
                  <a:gd name="T12" fmla="*/ 0 w 151"/>
                  <a:gd name="T13" fmla="*/ 0 h 125"/>
                  <a:gd name="T14" fmla="*/ 0 w 151"/>
                  <a:gd name="T15" fmla="*/ 0 h 125"/>
                  <a:gd name="T16" fmla="*/ 0 w 151"/>
                  <a:gd name="T17" fmla="*/ 0 h 125"/>
                  <a:gd name="T18" fmla="*/ 0 w 151"/>
                  <a:gd name="T19" fmla="*/ 0 h 125"/>
                  <a:gd name="T20" fmla="*/ 0 w 151"/>
                  <a:gd name="T21" fmla="*/ 0 h 125"/>
                  <a:gd name="T22" fmla="*/ 0 w 151"/>
                  <a:gd name="T23" fmla="*/ 0 h 125"/>
                  <a:gd name="T24" fmla="*/ 0 w 151"/>
                  <a:gd name="T25" fmla="*/ 0 h 125"/>
                  <a:gd name="T26" fmla="*/ 0 w 151"/>
                  <a:gd name="T27" fmla="*/ 0 h 125"/>
                  <a:gd name="T28" fmla="*/ 0 w 151"/>
                  <a:gd name="T29" fmla="*/ 0 h 125"/>
                  <a:gd name="T30" fmla="*/ 0 w 151"/>
                  <a:gd name="T31" fmla="*/ 0 h 125"/>
                  <a:gd name="T32" fmla="*/ 0 w 151"/>
                  <a:gd name="T33" fmla="*/ 0 h 125"/>
                  <a:gd name="T34" fmla="*/ 0 w 151"/>
                  <a:gd name="T35" fmla="*/ 0 h 125"/>
                  <a:gd name="T36" fmla="*/ 0 w 151"/>
                  <a:gd name="T37" fmla="*/ 0 h 125"/>
                  <a:gd name="T38" fmla="*/ 0 w 151"/>
                  <a:gd name="T39" fmla="*/ 0 h 125"/>
                  <a:gd name="T40" fmla="*/ 0 w 151"/>
                  <a:gd name="T41" fmla="*/ 0 h 1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1"/>
                  <a:gd name="T64" fmla="*/ 0 h 125"/>
                  <a:gd name="T65" fmla="*/ 151 w 151"/>
                  <a:gd name="T66" fmla="*/ 125 h 1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1" h="125">
                    <a:moveTo>
                      <a:pt x="151" y="0"/>
                    </a:moveTo>
                    <a:lnTo>
                      <a:pt x="133" y="24"/>
                    </a:lnTo>
                    <a:lnTo>
                      <a:pt x="87" y="8"/>
                    </a:lnTo>
                    <a:lnTo>
                      <a:pt x="93" y="39"/>
                    </a:lnTo>
                    <a:lnTo>
                      <a:pt x="60" y="31"/>
                    </a:lnTo>
                    <a:lnTo>
                      <a:pt x="40" y="8"/>
                    </a:lnTo>
                    <a:lnTo>
                      <a:pt x="43" y="58"/>
                    </a:lnTo>
                    <a:lnTo>
                      <a:pt x="14" y="74"/>
                    </a:lnTo>
                    <a:lnTo>
                      <a:pt x="0" y="33"/>
                    </a:lnTo>
                    <a:lnTo>
                      <a:pt x="11" y="83"/>
                    </a:lnTo>
                    <a:lnTo>
                      <a:pt x="56" y="79"/>
                    </a:lnTo>
                    <a:lnTo>
                      <a:pt x="62" y="48"/>
                    </a:lnTo>
                    <a:lnTo>
                      <a:pt x="87" y="68"/>
                    </a:lnTo>
                    <a:lnTo>
                      <a:pt x="72" y="120"/>
                    </a:lnTo>
                    <a:lnTo>
                      <a:pt x="83" y="125"/>
                    </a:lnTo>
                    <a:lnTo>
                      <a:pt x="105" y="85"/>
                    </a:lnTo>
                    <a:lnTo>
                      <a:pt x="108" y="36"/>
                    </a:lnTo>
                    <a:lnTo>
                      <a:pt x="139" y="63"/>
                    </a:lnTo>
                    <a:lnTo>
                      <a:pt x="145" y="21"/>
                    </a:lnTo>
                    <a:lnTo>
                      <a:pt x="151" y="0"/>
                    </a:lnTo>
                    <a:close/>
                  </a:path>
                </a:pathLst>
              </a:custGeom>
              <a:solidFill>
                <a:srgbClr val="000000"/>
              </a:solidFill>
              <a:ln w="9525">
                <a:noFill/>
                <a:round/>
                <a:headEnd/>
                <a:tailEnd/>
              </a:ln>
            </p:spPr>
            <p:txBody>
              <a:bodyPr/>
              <a:lstStyle/>
              <a:p>
                <a:endParaRPr lang="fr-FR"/>
              </a:p>
            </p:txBody>
          </p:sp>
          <p:sp>
            <p:nvSpPr>
              <p:cNvPr id="11324" name="Freeform 1066"/>
              <p:cNvSpPr>
                <a:spLocks/>
              </p:cNvSpPr>
              <p:nvPr/>
            </p:nvSpPr>
            <p:spPr bwMode="auto">
              <a:xfrm>
                <a:off x="4134" y="2017"/>
                <a:ext cx="17" cy="49"/>
              </a:xfrm>
              <a:custGeom>
                <a:avLst/>
                <a:gdLst>
                  <a:gd name="T0" fmla="*/ 0 w 49"/>
                  <a:gd name="T1" fmla="*/ 0 h 147"/>
                  <a:gd name="T2" fmla="*/ 0 w 49"/>
                  <a:gd name="T3" fmla="*/ 0 h 147"/>
                  <a:gd name="T4" fmla="*/ 0 w 49"/>
                  <a:gd name="T5" fmla="*/ 0 h 147"/>
                  <a:gd name="T6" fmla="*/ 0 w 49"/>
                  <a:gd name="T7" fmla="*/ 0 h 147"/>
                  <a:gd name="T8" fmla="*/ 0 w 49"/>
                  <a:gd name="T9" fmla="*/ 0 h 147"/>
                  <a:gd name="T10" fmla="*/ 0 w 49"/>
                  <a:gd name="T11" fmla="*/ 0 h 147"/>
                  <a:gd name="T12" fmla="*/ 0 w 49"/>
                  <a:gd name="T13" fmla="*/ 0 h 147"/>
                  <a:gd name="T14" fmla="*/ 0 w 49"/>
                  <a:gd name="T15" fmla="*/ 0 h 147"/>
                  <a:gd name="T16" fmla="*/ 0 w 49"/>
                  <a:gd name="T17" fmla="*/ 0 h 147"/>
                  <a:gd name="T18" fmla="*/ 0 w 49"/>
                  <a:gd name="T19" fmla="*/ 0 h 147"/>
                  <a:gd name="T20" fmla="*/ 0 w 49"/>
                  <a:gd name="T21" fmla="*/ 0 h 147"/>
                  <a:gd name="T22" fmla="*/ 0 w 49"/>
                  <a:gd name="T23" fmla="*/ 0 h 147"/>
                  <a:gd name="T24" fmla="*/ 0 w 49"/>
                  <a:gd name="T25" fmla="*/ 0 h 147"/>
                  <a:gd name="T26" fmla="*/ 0 w 49"/>
                  <a:gd name="T27" fmla="*/ 0 h 1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9"/>
                  <a:gd name="T43" fmla="*/ 0 h 147"/>
                  <a:gd name="T44" fmla="*/ 49 w 49"/>
                  <a:gd name="T45" fmla="*/ 147 h 1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9" h="147">
                    <a:moveTo>
                      <a:pt x="1" y="0"/>
                    </a:moveTo>
                    <a:lnTo>
                      <a:pt x="28" y="23"/>
                    </a:lnTo>
                    <a:lnTo>
                      <a:pt x="12" y="64"/>
                    </a:lnTo>
                    <a:lnTo>
                      <a:pt x="16" y="89"/>
                    </a:lnTo>
                    <a:lnTo>
                      <a:pt x="4" y="116"/>
                    </a:lnTo>
                    <a:lnTo>
                      <a:pt x="0" y="147"/>
                    </a:lnTo>
                    <a:lnTo>
                      <a:pt x="23" y="121"/>
                    </a:lnTo>
                    <a:lnTo>
                      <a:pt x="49" y="98"/>
                    </a:lnTo>
                    <a:lnTo>
                      <a:pt x="38" y="77"/>
                    </a:lnTo>
                    <a:lnTo>
                      <a:pt x="35" y="43"/>
                    </a:lnTo>
                    <a:lnTo>
                      <a:pt x="43" y="16"/>
                    </a:lnTo>
                    <a:lnTo>
                      <a:pt x="19" y="4"/>
                    </a:lnTo>
                    <a:lnTo>
                      <a:pt x="1" y="0"/>
                    </a:lnTo>
                    <a:close/>
                  </a:path>
                </a:pathLst>
              </a:custGeom>
              <a:solidFill>
                <a:srgbClr val="000000"/>
              </a:solidFill>
              <a:ln w="9525">
                <a:noFill/>
                <a:round/>
                <a:headEnd/>
                <a:tailEnd/>
              </a:ln>
            </p:spPr>
            <p:txBody>
              <a:bodyPr/>
              <a:lstStyle/>
              <a:p>
                <a:endParaRPr lang="fr-FR"/>
              </a:p>
            </p:txBody>
          </p:sp>
          <p:sp>
            <p:nvSpPr>
              <p:cNvPr id="11325" name="Freeform 1067"/>
              <p:cNvSpPr>
                <a:spLocks/>
              </p:cNvSpPr>
              <p:nvPr/>
            </p:nvSpPr>
            <p:spPr bwMode="auto">
              <a:xfrm>
                <a:off x="4134" y="1828"/>
                <a:ext cx="129" cy="82"/>
              </a:xfrm>
              <a:custGeom>
                <a:avLst/>
                <a:gdLst>
                  <a:gd name="T0" fmla="*/ 0 w 386"/>
                  <a:gd name="T1" fmla="*/ 0 h 246"/>
                  <a:gd name="T2" fmla="*/ 0 w 386"/>
                  <a:gd name="T3" fmla="*/ 0 h 246"/>
                  <a:gd name="T4" fmla="*/ 0 w 386"/>
                  <a:gd name="T5" fmla="*/ 0 h 246"/>
                  <a:gd name="T6" fmla="*/ 0 w 386"/>
                  <a:gd name="T7" fmla="*/ 0 h 246"/>
                  <a:gd name="T8" fmla="*/ 0 w 386"/>
                  <a:gd name="T9" fmla="*/ 0 h 246"/>
                  <a:gd name="T10" fmla="*/ 0 w 386"/>
                  <a:gd name="T11" fmla="*/ 0 h 246"/>
                  <a:gd name="T12" fmla="*/ 0 w 386"/>
                  <a:gd name="T13" fmla="*/ 0 h 246"/>
                  <a:gd name="T14" fmla="*/ 0 w 386"/>
                  <a:gd name="T15" fmla="*/ 0 h 246"/>
                  <a:gd name="T16" fmla="*/ 0 w 386"/>
                  <a:gd name="T17" fmla="*/ 0 h 246"/>
                  <a:gd name="T18" fmla="*/ 0 w 386"/>
                  <a:gd name="T19" fmla="*/ 0 h 246"/>
                  <a:gd name="T20" fmla="*/ 0 w 386"/>
                  <a:gd name="T21" fmla="*/ 0 h 246"/>
                  <a:gd name="T22" fmla="*/ 0 w 386"/>
                  <a:gd name="T23" fmla="*/ 0 h 246"/>
                  <a:gd name="T24" fmla="*/ 0 w 386"/>
                  <a:gd name="T25" fmla="*/ 0 h 246"/>
                  <a:gd name="T26" fmla="*/ 0 w 386"/>
                  <a:gd name="T27" fmla="*/ 0 h 246"/>
                  <a:gd name="T28" fmla="*/ 0 w 386"/>
                  <a:gd name="T29" fmla="*/ 0 h 246"/>
                  <a:gd name="T30" fmla="*/ 0 w 386"/>
                  <a:gd name="T31" fmla="*/ 0 h 246"/>
                  <a:gd name="T32" fmla="*/ 0 w 386"/>
                  <a:gd name="T33" fmla="*/ 0 h 246"/>
                  <a:gd name="T34" fmla="*/ 0 w 386"/>
                  <a:gd name="T35" fmla="*/ 0 h 246"/>
                  <a:gd name="T36" fmla="*/ 0 w 386"/>
                  <a:gd name="T37" fmla="*/ 0 h 246"/>
                  <a:gd name="T38" fmla="*/ 0 w 386"/>
                  <a:gd name="T39" fmla="*/ 0 h 246"/>
                  <a:gd name="T40" fmla="*/ 0 w 386"/>
                  <a:gd name="T41" fmla="*/ 0 h 246"/>
                  <a:gd name="T42" fmla="*/ 0 w 386"/>
                  <a:gd name="T43" fmla="*/ 0 h 246"/>
                  <a:gd name="T44" fmla="*/ 0 w 386"/>
                  <a:gd name="T45" fmla="*/ 0 h 246"/>
                  <a:gd name="T46" fmla="*/ 0 w 386"/>
                  <a:gd name="T47" fmla="*/ 0 h 246"/>
                  <a:gd name="T48" fmla="*/ 0 w 386"/>
                  <a:gd name="T49" fmla="*/ 0 h 246"/>
                  <a:gd name="T50" fmla="*/ 0 w 386"/>
                  <a:gd name="T51" fmla="*/ 0 h 246"/>
                  <a:gd name="T52" fmla="*/ 0 w 386"/>
                  <a:gd name="T53" fmla="*/ 0 h 246"/>
                  <a:gd name="T54" fmla="*/ 0 w 386"/>
                  <a:gd name="T55" fmla="*/ 0 h 246"/>
                  <a:gd name="T56" fmla="*/ 0 w 386"/>
                  <a:gd name="T57" fmla="*/ 0 h 246"/>
                  <a:gd name="T58" fmla="*/ 0 w 386"/>
                  <a:gd name="T59" fmla="*/ 0 h 246"/>
                  <a:gd name="T60" fmla="*/ 0 w 386"/>
                  <a:gd name="T61" fmla="*/ 0 h 246"/>
                  <a:gd name="T62" fmla="*/ 0 w 386"/>
                  <a:gd name="T63" fmla="*/ 0 h 2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86"/>
                  <a:gd name="T97" fmla="*/ 0 h 246"/>
                  <a:gd name="T98" fmla="*/ 386 w 386"/>
                  <a:gd name="T99" fmla="*/ 246 h 24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86" h="246">
                    <a:moveTo>
                      <a:pt x="0" y="102"/>
                    </a:moveTo>
                    <a:lnTo>
                      <a:pt x="52" y="89"/>
                    </a:lnTo>
                    <a:lnTo>
                      <a:pt x="87" y="61"/>
                    </a:lnTo>
                    <a:lnTo>
                      <a:pt x="130" y="55"/>
                    </a:lnTo>
                    <a:lnTo>
                      <a:pt x="193" y="67"/>
                    </a:lnTo>
                    <a:lnTo>
                      <a:pt x="239" y="50"/>
                    </a:lnTo>
                    <a:lnTo>
                      <a:pt x="283" y="50"/>
                    </a:lnTo>
                    <a:lnTo>
                      <a:pt x="341" y="12"/>
                    </a:lnTo>
                    <a:lnTo>
                      <a:pt x="386" y="0"/>
                    </a:lnTo>
                    <a:lnTo>
                      <a:pt x="338" y="43"/>
                    </a:lnTo>
                    <a:lnTo>
                      <a:pt x="289" y="55"/>
                    </a:lnTo>
                    <a:lnTo>
                      <a:pt x="246" y="80"/>
                    </a:lnTo>
                    <a:lnTo>
                      <a:pt x="193" y="72"/>
                    </a:lnTo>
                    <a:lnTo>
                      <a:pt x="175" y="138"/>
                    </a:lnTo>
                    <a:lnTo>
                      <a:pt x="139" y="165"/>
                    </a:lnTo>
                    <a:lnTo>
                      <a:pt x="126" y="199"/>
                    </a:lnTo>
                    <a:lnTo>
                      <a:pt x="87" y="218"/>
                    </a:lnTo>
                    <a:lnTo>
                      <a:pt x="64" y="230"/>
                    </a:lnTo>
                    <a:lnTo>
                      <a:pt x="47" y="246"/>
                    </a:lnTo>
                    <a:lnTo>
                      <a:pt x="55" y="209"/>
                    </a:lnTo>
                    <a:lnTo>
                      <a:pt x="31" y="184"/>
                    </a:lnTo>
                    <a:lnTo>
                      <a:pt x="43" y="148"/>
                    </a:lnTo>
                    <a:lnTo>
                      <a:pt x="64" y="132"/>
                    </a:lnTo>
                    <a:lnTo>
                      <a:pt x="59" y="172"/>
                    </a:lnTo>
                    <a:lnTo>
                      <a:pt x="75" y="188"/>
                    </a:lnTo>
                    <a:lnTo>
                      <a:pt x="119" y="169"/>
                    </a:lnTo>
                    <a:lnTo>
                      <a:pt x="166" y="84"/>
                    </a:lnTo>
                    <a:lnTo>
                      <a:pt x="114" y="84"/>
                    </a:lnTo>
                    <a:lnTo>
                      <a:pt x="96" y="77"/>
                    </a:lnTo>
                    <a:lnTo>
                      <a:pt x="52" y="102"/>
                    </a:lnTo>
                    <a:lnTo>
                      <a:pt x="0" y="102"/>
                    </a:lnTo>
                    <a:close/>
                  </a:path>
                </a:pathLst>
              </a:custGeom>
              <a:solidFill>
                <a:srgbClr val="000000"/>
              </a:solidFill>
              <a:ln w="9525">
                <a:noFill/>
                <a:round/>
                <a:headEnd/>
                <a:tailEnd/>
              </a:ln>
            </p:spPr>
            <p:txBody>
              <a:bodyPr/>
              <a:lstStyle/>
              <a:p>
                <a:endParaRPr lang="fr-FR"/>
              </a:p>
            </p:txBody>
          </p:sp>
          <p:sp>
            <p:nvSpPr>
              <p:cNvPr id="11326" name="Freeform 1068"/>
              <p:cNvSpPr>
                <a:spLocks/>
              </p:cNvSpPr>
              <p:nvPr/>
            </p:nvSpPr>
            <p:spPr bwMode="auto">
              <a:xfrm>
                <a:off x="4275" y="1633"/>
                <a:ext cx="281" cy="189"/>
              </a:xfrm>
              <a:custGeom>
                <a:avLst/>
                <a:gdLst>
                  <a:gd name="T0" fmla="*/ 0 w 842"/>
                  <a:gd name="T1" fmla="*/ 0 h 568"/>
                  <a:gd name="T2" fmla="*/ 0 w 842"/>
                  <a:gd name="T3" fmla="*/ 0 h 568"/>
                  <a:gd name="T4" fmla="*/ 0 w 842"/>
                  <a:gd name="T5" fmla="*/ 0 h 568"/>
                  <a:gd name="T6" fmla="*/ 0 w 842"/>
                  <a:gd name="T7" fmla="*/ 0 h 568"/>
                  <a:gd name="T8" fmla="*/ 0 w 842"/>
                  <a:gd name="T9" fmla="*/ 0 h 568"/>
                  <a:gd name="T10" fmla="*/ 0 w 842"/>
                  <a:gd name="T11" fmla="*/ 0 h 568"/>
                  <a:gd name="T12" fmla="*/ 0 w 842"/>
                  <a:gd name="T13" fmla="*/ 0 h 568"/>
                  <a:gd name="T14" fmla="*/ 0 w 842"/>
                  <a:gd name="T15" fmla="*/ 0 h 568"/>
                  <a:gd name="T16" fmla="*/ 0 w 842"/>
                  <a:gd name="T17" fmla="*/ 0 h 568"/>
                  <a:gd name="T18" fmla="*/ 0 w 842"/>
                  <a:gd name="T19" fmla="*/ 0 h 568"/>
                  <a:gd name="T20" fmla="*/ 0 w 842"/>
                  <a:gd name="T21" fmla="*/ 0 h 568"/>
                  <a:gd name="T22" fmla="*/ 0 w 842"/>
                  <a:gd name="T23" fmla="*/ 0 h 568"/>
                  <a:gd name="T24" fmla="*/ 0 w 842"/>
                  <a:gd name="T25" fmla="*/ 0 h 568"/>
                  <a:gd name="T26" fmla="*/ 0 w 842"/>
                  <a:gd name="T27" fmla="*/ 0 h 568"/>
                  <a:gd name="T28" fmla="*/ 0 w 842"/>
                  <a:gd name="T29" fmla="*/ 0 h 568"/>
                  <a:gd name="T30" fmla="*/ 0 w 842"/>
                  <a:gd name="T31" fmla="*/ 0 h 568"/>
                  <a:gd name="T32" fmla="*/ 0 w 842"/>
                  <a:gd name="T33" fmla="*/ 0 h 568"/>
                  <a:gd name="T34" fmla="*/ 0 w 842"/>
                  <a:gd name="T35" fmla="*/ 0 h 568"/>
                  <a:gd name="T36" fmla="*/ 0 w 842"/>
                  <a:gd name="T37" fmla="*/ 0 h 568"/>
                  <a:gd name="T38" fmla="*/ 0 w 842"/>
                  <a:gd name="T39" fmla="*/ 0 h 568"/>
                  <a:gd name="T40" fmla="*/ 0 w 842"/>
                  <a:gd name="T41" fmla="*/ 0 h 568"/>
                  <a:gd name="T42" fmla="*/ 0 w 842"/>
                  <a:gd name="T43" fmla="*/ 0 h 568"/>
                  <a:gd name="T44" fmla="*/ 0 w 842"/>
                  <a:gd name="T45" fmla="*/ 0 h 568"/>
                  <a:gd name="T46" fmla="*/ 0 w 842"/>
                  <a:gd name="T47" fmla="*/ 0 h 568"/>
                  <a:gd name="T48" fmla="*/ 0 w 842"/>
                  <a:gd name="T49" fmla="*/ 0 h 568"/>
                  <a:gd name="T50" fmla="*/ 0 w 842"/>
                  <a:gd name="T51" fmla="*/ 0 h 568"/>
                  <a:gd name="T52" fmla="*/ 0 w 842"/>
                  <a:gd name="T53" fmla="*/ 0 h 568"/>
                  <a:gd name="T54" fmla="*/ 0 w 842"/>
                  <a:gd name="T55" fmla="*/ 0 h 568"/>
                  <a:gd name="T56" fmla="*/ 0 w 842"/>
                  <a:gd name="T57" fmla="*/ 0 h 568"/>
                  <a:gd name="T58" fmla="*/ 0 w 842"/>
                  <a:gd name="T59" fmla="*/ 0 h 568"/>
                  <a:gd name="T60" fmla="*/ 0 w 842"/>
                  <a:gd name="T61" fmla="*/ 0 h 568"/>
                  <a:gd name="T62" fmla="*/ 0 w 842"/>
                  <a:gd name="T63" fmla="*/ 0 h 568"/>
                  <a:gd name="T64" fmla="*/ 0 w 842"/>
                  <a:gd name="T65" fmla="*/ 0 h 568"/>
                  <a:gd name="T66" fmla="*/ 0 w 842"/>
                  <a:gd name="T67" fmla="*/ 0 h 568"/>
                  <a:gd name="T68" fmla="*/ 0 w 842"/>
                  <a:gd name="T69" fmla="*/ 0 h 568"/>
                  <a:gd name="T70" fmla="*/ 0 w 842"/>
                  <a:gd name="T71" fmla="*/ 0 h 568"/>
                  <a:gd name="T72" fmla="*/ 0 w 842"/>
                  <a:gd name="T73" fmla="*/ 0 h 568"/>
                  <a:gd name="T74" fmla="*/ 0 w 842"/>
                  <a:gd name="T75" fmla="*/ 0 h 5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42"/>
                  <a:gd name="T115" fmla="*/ 0 h 568"/>
                  <a:gd name="T116" fmla="*/ 842 w 842"/>
                  <a:gd name="T117" fmla="*/ 568 h 5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42" h="568">
                    <a:moveTo>
                      <a:pt x="0" y="568"/>
                    </a:moveTo>
                    <a:lnTo>
                      <a:pt x="58" y="554"/>
                    </a:lnTo>
                    <a:lnTo>
                      <a:pt x="116" y="547"/>
                    </a:lnTo>
                    <a:lnTo>
                      <a:pt x="159" y="514"/>
                    </a:lnTo>
                    <a:lnTo>
                      <a:pt x="209" y="504"/>
                    </a:lnTo>
                    <a:lnTo>
                      <a:pt x="252" y="501"/>
                    </a:lnTo>
                    <a:lnTo>
                      <a:pt x="297" y="473"/>
                    </a:lnTo>
                    <a:lnTo>
                      <a:pt x="349" y="453"/>
                    </a:lnTo>
                    <a:lnTo>
                      <a:pt x="395" y="428"/>
                    </a:lnTo>
                    <a:lnTo>
                      <a:pt x="423" y="410"/>
                    </a:lnTo>
                    <a:lnTo>
                      <a:pt x="481" y="378"/>
                    </a:lnTo>
                    <a:lnTo>
                      <a:pt x="530" y="339"/>
                    </a:lnTo>
                    <a:lnTo>
                      <a:pt x="579" y="326"/>
                    </a:lnTo>
                    <a:lnTo>
                      <a:pt x="618" y="297"/>
                    </a:lnTo>
                    <a:lnTo>
                      <a:pt x="640" y="263"/>
                    </a:lnTo>
                    <a:lnTo>
                      <a:pt x="704" y="238"/>
                    </a:lnTo>
                    <a:lnTo>
                      <a:pt x="734" y="198"/>
                    </a:lnTo>
                    <a:lnTo>
                      <a:pt x="762" y="186"/>
                    </a:lnTo>
                    <a:lnTo>
                      <a:pt x="778" y="133"/>
                    </a:lnTo>
                    <a:lnTo>
                      <a:pt x="796" y="91"/>
                    </a:lnTo>
                    <a:lnTo>
                      <a:pt x="792" y="54"/>
                    </a:lnTo>
                    <a:lnTo>
                      <a:pt x="756" y="82"/>
                    </a:lnTo>
                    <a:lnTo>
                      <a:pt x="731" y="87"/>
                    </a:lnTo>
                    <a:lnTo>
                      <a:pt x="716" y="122"/>
                    </a:lnTo>
                    <a:lnTo>
                      <a:pt x="680" y="133"/>
                    </a:lnTo>
                    <a:lnTo>
                      <a:pt x="633" y="162"/>
                    </a:lnTo>
                    <a:lnTo>
                      <a:pt x="599" y="183"/>
                    </a:lnTo>
                    <a:lnTo>
                      <a:pt x="569" y="195"/>
                    </a:lnTo>
                    <a:lnTo>
                      <a:pt x="542" y="223"/>
                    </a:lnTo>
                    <a:lnTo>
                      <a:pt x="509" y="220"/>
                    </a:lnTo>
                    <a:lnTo>
                      <a:pt x="466" y="231"/>
                    </a:lnTo>
                    <a:lnTo>
                      <a:pt x="444" y="256"/>
                    </a:lnTo>
                    <a:lnTo>
                      <a:pt x="401" y="263"/>
                    </a:lnTo>
                    <a:lnTo>
                      <a:pt x="365" y="295"/>
                    </a:lnTo>
                    <a:lnTo>
                      <a:pt x="322" y="292"/>
                    </a:lnTo>
                    <a:lnTo>
                      <a:pt x="361" y="283"/>
                    </a:lnTo>
                    <a:lnTo>
                      <a:pt x="395" y="247"/>
                    </a:lnTo>
                    <a:lnTo>
                      <a:pt x="420" y="241"/>
                    </a:lnTo>
                    <a:lnTo>
                      <a:pt x="462" y="202"/>
                    </a:lnTo>
                    <a:lnTo>
                      <a:pt x="509" y="211"/>
                    </a:lnTo>
                    <a:lnTo>
                      <a:pt x="554" y="177"/>
                    </a:lnTo>
                    <a:lnTo>
                      <a:pt x="604" y="165"/>
                    </a:lnTo>
                    <a:lnTo>
                      <a:pt x="643" y="122"/>
                    </a:lnTo>
                    <a:lnTo>
                      <a:pt x="683" y="119"/>
                    </a:lnTo>
                    <a:lnTo>
                      <a:pt x="708" y="69"/>
                    </a:lnTo>
                    <a:lnTo>
                      <a:pt x="762" y="43"/>
                    </a:lnTo>
                    <a:lnTo>
                      <a:pt x="787" y="5"/>
                    </a:lnTo>
                    <a:lnTo>
                      <a:pt x="829" y="0"/>
                    </a:lnTo>
                    <a:lnTo>
                      <a:pt x="842" y="54"/>
                    </a:lnTo>
                    <a:lnTo>
                      <a:pt x="812" y="107"/>
                    </a:lnTo>
                    <a:lnTo>
                      <a:pt x="806" y="162"/>
                    </a:lnTo>
                    <a:lnTo>
                      <a:pt x="780" y="191"/>
                    </a:lnTo>
                    <a:lnTo>
                      <a:pt x="741" y="216"/>
                    </a:lnTo>
                    <a:lnTo>
                      <a:pt x="704" y="253"/>
                    </a:lnTo>
                    <a:lnTo>
                      <a:pt x="651" y="302"/>
                    </a:lnTo>
                    <a:lnTo>
                      <a:pt x="622" y="312"/>
                    </a:lnTo>
                    <a:lnTo>
                      <a:pt x="569" y="341"/>
                    </a:lnTo>
                    <a:lnTo>
                      <a:pt x="523" y="370"/>
                    </a:lnTo>
                    <a:lnTo>
                      <a:pt x="495" y="378"/>
                    </a:lnTo>
                    <a:lnTo>
                      <a:pt x="466" y="413"/>
                    </a:lnTo>
                    <a:lnTo>
                      <a:pt x="426" y="436"/>
                    </a:lnTo>
                    <a:lnTo>
                      <a:pt x="405" y="436"/>
                    </a:lnTo>
                    <a:lnTo>
                      <a:pt x="395" y="461"/>
                    </a:lnTo>
                    <a:lnTo>
                      <a:pt x="358" y="501"/>
                    </a:lnTo>
                    <a:lnTo>
                      <a:pt x="361" y="479"/>
                    </a:lnTo>
                    <a:lnTo>
                      <a:pt x="343" y="467"/>
                    </a:lnTo>
                    <a:lnTo>
                      <a:pt x="307" y="482"/>
                    </a:lnTo>
                    <a:lnTo>
                      <a:pt x="272" y="505"/>
                    </a:lnTo>
                    <a:lnTo>
                      <a:pt x="272" y="540"/>
                    </a:lnTo>
                    <a:lnTo>
                      <a:pt x="250" y="554"/>
                    </a:lnTo>
                    <a:lnTo>
                      <a:pt x="241" y="523"/>
                    </a:lnTo>
                    <a:lnTo>
                      <a:pt x="199" y="543"/>
                    </a:lnTo>
                    <a:lnTo>
                      <a:pt x="137" y="547"/>
                    </a:lnTo>
                    <a:lnTo>
                      <a:pt x="104" y="565"/>
                    </a:lnTo>
                    <a:lnTo>
                      <a:pt x="68" y="565"/>
                    </a:lnTo>
                    <a:lnTo>
                      <a:pt x="0" y="568"/>
                    </a:lnTo>
                    <a:close/>
                  </a:path>
                </a:pathLst>
              </a:custGeom>
              <a:solidFill>
                <a:srgbClr val="000000"/>
              </a:solidFill>
              <a:ln w="9525">
                <a:noFill/>
                <a:round/>
                <a:headEnd/>
                <a:tailEnd/>
              </a:ln>
            </p:spPr>
            <p:txBody>
              <a:bodyPr/>
              <a:lstStyle/>
              <a:p>
                <a:endParaRPr lang="fr-FR"/>
              </a:p>
            </p:txBody>
          </p:sp>
          <p:sp>
            <p:nvSpPr>
              <p:cNvPr id="11327" name="Freeform 1069"/>
              <p:cNvSpPr>
                <a:spLocks/>
              </p:cNvSpPr>
              <p:nvPr/>
            </p:nvSpPr>
            <p:spPr bwMode="auto">
              <a:xfrm>
                <a:off x="4188" y="1699"/>
                <a:ext cx="184" cy="37"/>
              </a:xfrm>
              <a:custGeom>
                <a:avLst/>
                <a:gdLst>
                  <a:gd name="T0" fmla="*/ 0 w 554"/>
                  <a:gd name="T1" fmla="*/ 0 h 111"/>
                  <a:gd name="T2" fmla="*/ 0 w 554"/>
                  <a:gd name="T3" fmla="*/ 0 h 111"/>
                  <a:gd name="T4" fmla="*/ 0 w 554"/>
                  <a:gd name="T5" fmla="*/ 0 h 111"/>
                  <a:gd name="T6" fmla="*/ 0 w 554"/>
                  <a:gd name="T7" fmla="*/ 0 h 111"/>
                  <a:gd name="T8" fmla="*/ 0 w 554"/>
                  <a:gd name="T9" fmla="*/ 0 h 111"/>
                  <a:gd name="T10" fmla="*/ 0 w 554"/>
                  <a:gd name="T11" fmla="*/ 0 h 111"/>
                  <a:gd name="T12" fmla="*/ 0 w 554"/>
                  <a:gd name="T13" fmla="*/ 0 h 111"/>
                  <a:gd name="T14" fmla="*/ 0 w 554"/>
                  <a:gd name="T15" fmla="*/ 0 h 111"/>
                  <a:gd name="T16" fmla="*/ 0 w 554"/>
                  <a:gd name="T17" fmla="*/ 0 h 111"/>
                  <a:gd name="T18" fmla="*/ 0 w 554"/>
                  <a:gd name="T19" fmla="*/ 0 h 111"/>
                  <a:gd name="T20" fmla="*/ 0 w 554"/>
                  <a:gd name="T21" fmla="*/ 0 h 111"/>
                  <a:gd name="T22" fmla="*/ 0 w 554"/>
                  <a:gd name="T23" fmla="*/ 0 h 111"/>
                  <a:gd name="T24" fmla="*/ 0 w 554"/>
                  <a:gd name="T25" fmla="*/ 0 h 111"/>
                  <a:gd name="T26" fmla="*/ 0 w 554"/>
                  <a:gd name="T27" fmla="*/ 0 h 111"/>
                  <a:gd name="T28" fmla="*/ 0 w 554"/>
                  <a:gd name="T29" fmla="*/ 0 h 111"/>
                  <a:gd name="T30" fmla="*/ 0 w 554"/>
                  <a:gd name="T31" fmla="*/ 0 h 111"/>
                  <a:gd name="T32" fmla="*/ 0 w 554"/>
                  <a:gd name="T33" fmla="*/ 0 h 111"/>
                  <a:gd name="T34" fmla="*/ 0 w 554"/>
                  <a:gd name="T35" fmla="*/ 0 h 111"/>
                  <a:gd name="T36" fmla="*/ 0 w 554"/>
                  <a:gd name="T37" fmla="*/ 0 h 111"/>
                  <a:gd name="T38" fmla="*/ 0 w 554"/>
                  <a:gd name="T39" fmla="*/ 0 h 111"/>
                  <a:gd name="T40" fmla="*/ 0 w 554"/>
                  <a:gd name="T41" fmla="*/ 0 h 111"/>
                  <a:gd name="T42" fmla="*/ 0 w 554"/>
                  <a:gd name="T43" fmla="*/ 0 h 111"/>
                  <a:gd name="T44" fmla="*/ 0 w 554"/>
                  <a:gd name="T45" fmla="*/ 0 h 111"/>
                  <a:gd name="T46" fmla="*/ 0 w 554"/>
                  <a:gd name="T47" fmla="*/ 0 h 111"/>
                  <a:gd name="T48" fmla="*/ 0 w 554"/>
                  <a:gd name="T49" fmla="*/ 0 h 111"/>
                  <a:gd name="T50" fmla="*/ 0 w 554"/>
                  <a:gd name="T51" fmla="*/ 0 h 111"/>
                  <a:gd name="T52" fmla="*/ 0 w 554"/>
                  <a:gd name="T53" fmla="*/ 0 h 111"/>
                  <a:gd name="T54" fmla="*/ 0 w 554"/>
                  <a:gd name="T55" fmla="*/ 0 h 111"/>
                  <a:gd name="T56" fmla="*/ 0 w 554"/>
                  <a:gd name="T57" fmla="*/ 0 h 111"/>
                  <a:gd name="T58" fmla="*/ 0 w 554"/>
                  <a:gd name="T59" fmla="*/ 0 h 111"/>
                  <a:gd name="T60" fmla="*/ 0 w 554"/>
                  <a:gd name="T61" fmla="*/ 0 h 111"/>
                  <a:gd name="T62" fmla="*/ 0 w 554"/>
                  <a:gd name="T63" fmla="*/ 0 h 111"/>
                  <a:gd name="T64" fmla="*/ 0 w 554"/>
                  <a:gd name="T65" fmla="*/ 0 h 1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4"/>
                  <a:gd name="T100" fmla="*/ 0 h 111"/>
                  <a:gd name="T101" fmla="*/ 554 w 554"/>
                  <a:gd name="T102" fmla="*/ 111 h 1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4" h="111">
                    <a:moveTo>
                      <a:pt x="339" y="0"/>
                    </a:moveTo>
                    <a:lnTo>
                      <a:pt x="346" y="33"/>
                    </a:lnTo>
                    <a:lnTo>
                      <a:pt x="325" y="61"/>
                    </a:lnTo>
                    <a:lnTo>
                      <a:pt x="285" y="70"/>
                    </a:lnTo>
                    <a:lnTo>
                      <a:pt x="256" y="58"/>
                    </a:lnTo>
                    <a:lnTo>
                      <a:pt x="227" y="71"/>
                    </a:lnTo>
                    <a:lnTo>
                      <a:pt x="184" y="82"/>
                    </a:lnTo>
                    <a:lnTo>
                      <a:pt x="155" y="70"/>
                    </a:lnTo>
                    <a:lnTo>
                      <a:pt x="137" y="85"/>
                    </a:lnTo>
                    <a:lnTo>
                      <a:pt x="77" y="85"/>
                    </a:lnTo>
                    <a:lnTo>
                      <a:pt x="46" y="85"/>
                    </a:lnTo>
                    <a:lnTo>
                      <a:pt x="0" y="111"/>
                    </a:lnTo>
                    <a:lnTo>
                      <a:pt x="39" y="97"/>
                    </a:lnTo>
                    <a:lnTo>
                      <a:pt x="107" y="107"/>
                    </a:lnTo>
                    <a:lnTo>
                      <a:pt x="159" y="91"/>
                    </a:lnTo>
                    <a:lnTo>
                      <a:pt x="193" y="99"/>
                    </a:lnTo>
                    <a:lnTo>
                      <a:pt x="256" y="71"/>
                    </a:lnTo>
                    <a:lnTo>
                      <a:pt x="327" y="91"/>
                    </a:lnTo>
                    <a:lnTo>
                      <a:pt x="379" y="65"/>
                    </a:lnTo>
                    <a:lnTo>
                      <a:pt x="414" y="74"/>
                    </a:lnTo>
                    <a:lnTo>
                      <a:pt x="453" y="55"/>
                    </a:lnTo>
                    <a:lnTo>
                      <a:pt x="515" y="61"/>
                    </a:lnTo>
                    <a:lnTo>
                      <a:pt x="554" y="82"/>
                    </a:lnTo>
                    <a:lnTo>
                      <a:pt x="523" y="55"/>
                    </a:lnTo>
                    <a:lnTo>
                      <a:pt x="477" y="43"/>
                    </a:lnTo>
                    <a:lnTo>
                      <a:pt x="444" y="25"/>
                    </a:lnTo>
                    <a:lnTo>
                      <a:pt x="437" y="43"/>
                    </a:lnTo>
                    <a:lnTo>
                      <a:pt x="397" y="49"/>
                    </a:lnTo>
                    <a:lnTo>
                      <a:pt x="373" y="36"/>
                    </a:lnTo>
                    <a:lnTo>
                      <a:pt x="361" y="13"/>
                    </a:lnTo>
                    <a:lnTo>
                      <a:pt x="349" y="4"/>
                    </a:lnTo>
                    <a:lnTo>
                      <a:pt x="339" y="0"/>
                    </a:lnTo>
                    <a:close/>
                  </a:path>
                </a:pathLst>
              </a:custGeom>
              <a:solidFill>
                <a:srgbClr val="000000"/>
              </a:solidFill>
              <a:ln w="9525">
                <a:noFill/>
                <a:round/>
                <a:headEnd/>
                <a:tailEnd/>
              </a:ln>
            </p:spPr>
            <p:txBody>
              <a:bodyPr/>
              <a:lstStyle/>
              <a:p>
                <a:endParaRPr lang="fr-FR"/>
              </a:p>
            </p:txBody>
          </p:sp>
          <p:sp>
            <p:nvSpPr>
              <p:cNvPr id="11328" name="Freeform 1070"/>
              <p:cNvSpPr>
                <a:spLocks/>
              </p:cNvSpPr>
              <p:nvPr/>
            </p:nvSpPr>
            <p:spPr bwMode="auto">
              <a:xfrm>
                <a:off x="4154" y="1696"/>
                <a:ext cx="149" cy="40"/>
              </a:xfrm>
              <a:custGeom>
                <a:avLst/>
                <a:gdLst>
                  <a:gd name="T0" fmla="*/ 0 w 447"/>
                  <a:gd name="T1" fmla="*/ 0 h 118"/>
                  <a:gd name="T2" fmla="*/ 0 w 447"/>
                  <a:gd name="T3" fmla="*/ 0 h 118"/>
                  <a:gd name="T4" fmla="*/ 0 w 447"/>
                  <a:gd name="T5" fmla="*/ 0 h 118"/>
                  <a:gd name="T6" fmla="*/ 0 w 447"/>
                  <a:gd name="T7" fmla="*/ 0 h 118"/>
                  <a:gd name="T8" fmla="*/ 0 w 447"/>
                  <a:gd name="T9" fmla="*/ 0 h 118"/>
                  <a:gd name="T10" fmla="*/ 0 w 447"/>
                  <a:gd name="T11" fmla="*/ 0 h 118"/>
                  <a:gd name="T12" fmla="*/ 0 w 447"/>
                  <a:gd name="T13" fmla="*/ 0 h 118"/>
                  <a:gd name="T14" fmla="*/ 0 w 447"/>
                  <a:gd name="T15" fmla="*/ 0 h 118"/>
                  <a:gd name="T16" fmla="*/ 0 w 447"/>
                  <a:gd name="T17" fmla="*/ 0 h 118"/>
                  <a:gd name="T18" fmla="*/ 0 w 447"/>
                  <a:gd name="T19" fmla="*/ 0 h 118"/>
                  <a:gd name="T20" fmla="*/ 0 w 447"/>
                  <a:gd name="T21" fmla="*/ 0 h 118"/>
                  <a:gd name="T22" fmla="*/ 0 w 447"/>
                  <a:gd name="T23" fmla="*/ 0 h 118"/>
                  <a:gd name="T24" fmla="*/ 0 w 447"/>
                  <a:gd name="T25" fmla="*/ 0 h 118"/>
                  <a:gd name="T26" fmla="*/ 0 w 447"/>
                  <a:gd name="T27" fmla="*/ 0 h 118"/>
                  <a:gd name="T28" fmla="*/ 0 w 447"/>
                  <a:gd name="T29" fmla="*/ 0 h 118"/>
                  <a:gd name="T30" fmla="*/ 0 w 447"/>
                  <a:gd name="T31" fmla="*/ 0 h 118"/>
                  <a:gd name="T32" fmla="*/ 0 w 447"/>
                  <a:gd name="T33" fmla="*/ 0 h 118"/>
                  <a:gd name="T34" fmla="*/ 0 w 447"/>
                  <a:gd name="T35" fmla="*/ 0 h 118"/>
                  <a:gd name="T36" fmla="*/ 0 w 447"/>
                  <a:gd name="T37" fmla="*/ 0 h 118"/>
                  <a:gd name="T38" fmla="*/ 0 w 447"/>
                  <a:gd name="T39" fmla="*/ 0 h 118"/>
                  <a:gd name="T40" fmla="*/ 0 w 447"/>
                  <a:gd name="T41" fmla="*/ 0 h 118"/>
                  <a:gd name="T42" fmla="*/ 0 w 447"/>
                  <a:gd name="T43" fmla="*/ 0 h 118"/>
                  <a:gd name="T44" fmla="*/ 0 w 447"/>
                  <a:gd name="T45" fmla="*/ 0 h 118"/>
                  <a:gd name="T46" fmla="*/ 0 w 447"/>
                  <a:gd name="T47" fmla="*/ 0 h 118"/>
                  <a:gd name="T48" fmla="*/ 0 w 447"/>
                  <a:gd name="T49" fmla="*/ 0 h 118"/>
                  <a:gd name="T50" fmla="*/ 0 w 447"/>
                  <a:gd name="T51" fmla="*/ 0 h 118"/>
                  <a:gd name="T52" fmla="*/ 0 w 447"/>
                  <a:gd name="T53" fmla="*/ 0 h 11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47"/>
                  <a:gd name="T82" fmla="*/ 0 h 118"/>
                  <a:gd name="T83" fmla="*/ 447 w 447"/>
                  <a:gd name="T84" fmla="*/ 118 h 11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47" h="118">
                    <a:moveTo>
                      <a:pt x="6" y="98"/>
                    </a:moveTo>
                    <a:lnTo>
                      <a:pt x="64" y="56"/>
                    </a:lnTo>
                    <a:lnTo>
                      <a:pt x="114" y="72"/>
                    </a:lnTo>
                    <a:lnTo>
                      <a:pt x="137" y="40"/>
                    </a:lnTo>
                    <a:lnTo>
                      <a:pt x="193" y="25"/>
                    </a:lnTo>
                    <a:lnTo>
                      <a:pt x="250" y="47"/>
                    </a:lnTo>
                    <a:lnTo>
                      <a:pt x="269" y="25"/>
                    </a:lnTo>
                    <a:lnTo>
                      <a:pt x="314" y="25"/>
                    </a:lnTo>
                    <a:lnTo>
                      <a:pt x="336" y="0"/>
                    </a:lnTo>
                    <a:lnTo>
                      <a:pt x="377" y="7"/>
                    </a:lnTo>
                    <a:lnTo>
                      <a:pt x="392" y="29"/>
                    </a:lnTo>
                    <a:lnTo>
                      <a:pt x="406" y="0"/>
                    </a:lnTo>
                    <a:lnTo>
                      <a:pt x="447" y="17"/>
                    </a:lnTo>
                    <a:lnTo>
                      <a:pt x="422" y="20"/>
                    </a:lnTo>
                    <a:lnTo>
                      <a:pt x="392" y="43"/>
                    </a:lnTo>
                    <a:lnTo>
                      <a:pt x="361" y="25"/>
                    </a:lnTo>
                    <a:lnTo>
                      <a:pt x="336" y="29"/>
                    </a:lnTo>
                    <a:lnTo>
                      <a:pt x="316" y="47"/>
                    </a:lnTo>
                    <a:lnTo>
                      <a:pt x="273" y="40"/>
                    </a:lnTo>
                    <a:lnTo>
                      <a:pt x="250" y="56"/>
                    </a:lnTo>
                    <a:lnTo>
                      <a:pt x="193" y="47"/>
                    </a:lnTo>
                    <a:lnTo>
                      <a:pt x="147" y="47"/>
                    </a:lnTo>
                    <a:lnTo>
                      <a:pt x="117" y="78"/>
                    </a:lnTo>
                    <a:lnTo>
                      <a:pt x="76" y="77"/>
                    </a:lnTo>
                    <a:lnTo>
                      <a:pt x="0" y="118"/>
                    </a:lnTo>
                    <a:lnTo>
                      <a:pt x="6" y="98"/>
                    </a:lnTo>
                    <a:close/>
                  </a:path>
                </a:pathLst>
              </a:custGeom>
              <a:solidFill>
                <a:srgbClr val="000000"/>
              </a:solidFill>
              <a:ln w="9525">
                <a:noFill/>
                <a:round/>
                <a:headEnd/>
                <a:tailEnd/>
              </a:ln>
            </p:spPr>
            <p:txBody>
              <a:bodyPr/>
              <a:lstStyle/>
              <a:p>
                <a:endParaRPr lang="fr-FR"/>
              </a:p>
            </p:txBody>
          </p:sp>
          <p:sp>
            <p:nvSpPr>
              <p:cNvPr id="11329" name="Freeform 1071"/>
              <p:cNvSpPr>
                <a:spLocks/>
              </p:cNvSpPr>
              <p:nvPr/>
            </p:nvSpPr>
            <p:spPr bwMode="auto">
              <a:xfrm>
                <a:off x="4309" y="1586"/>
                <a:ext cx="290" cy="285"/>
              </a:xfrm>
              <a:custGeom>
                <a:avLst/>
                <a:gdLst>
                  <a:gd name="T0" fmla="*/ 0 w 870"/>
                  <a:gd name="T1" fmla="*/ 0 h 856"/>
                  <a:gd name="T2" fmla="*/ 0 w 870"/>
                  <a:gd name="T3" fmla="*/ 0 h 856"/>
                  <a:gd name="T4" fmla="*/ 0 w 870"/>
                  <a:gd name="T5" fmla="*/ 0 h 856"/>
                  <a:gd name="T6" fmla="*/ 0 w 870"/>
                  <a:gd name="T7" fmla="*/ 0 h 856"/>
                  <a:gd name="T8" fmla="*/ 0 w 870"/>
                  <a:gd name="T9" fmla="*/ 0 h 856"/>
                  <a:gd name="T10" fmla="*/ 0 w 870"/>
                  <a:gd name="T11" fmla="*/ 0 h 856"/>
                  <a:gd name="T12" fmla="*/ 0 w 870"/>
                  <a:gd name="T13" fmla="*/ 0 h 856"/>
                  <a:gd name="T14" fmla="*/ 0 w 870"/>
                  <a:gd name="T15" fmla="*/ 0 h 856"/>
                  <a:gd name="T16" fmla="*/ 0 w 870"/>
                  <a:gd name="T17" fmla="*/ 0 h 856"/>
                  <a:gd name="T18" fmla="*/ 0 w 870"/>
                  <a:gd name="T19" fmla="*/ 0 h 856"/>
                  <a:gd name="T20" fmla="*/ 0 w 870"/>
                  <a:gd name="T21" fmla="*/ 0 h 856"/>
                  <a:gd name="T22" fmla="*/ 0 w 870"/>
                  <a:gd name="T23" fmla="*/ 0 h 856"/>
                  <a:gd name="T24" fmla="*/ 0 w 870"/>
                  <a:gd name="T25" fmla="*/ 0 h 856"/>
                  <a:gd name="T26" fmla="*/ 0 w 870"/>
                  <a:gd name="T27" fmla="*/ 0 h 856"/>
                  <a:gd name="T28" fmla="*/ 0 w 870"/>
                  <a:gd name="T29" fmla="*/ 0 h 856"/>
                  <a:gd name="T30" fmla="*/ 0 w 870"/>
                  <a:gd name="T31" fmla="*/ 0 h 856"/>
                  <a:gd name="T32" fmla="*/ 0 w 870"/>
                  <a:gd name="T33" fmla="*/ 0 h 856"/>
                  <a:gd name="T34" fmla="*/ 0 w 870"/>
                  <a:gd name="T35" fmla="*/ 0 h 856"/>
                  <a:gd name="T36" fmla="*/ 0 w 870"/>
                  <a:gd name="T37" fmla="*/ 0 h 856"/>
                  <a:gd name="T38" fmla="*/ 0 w 870"/>
                  <a:gd name="T39" fmla="*/ 0 h 856"/>
                  <a:gd name="T40" fmla="*/ 0 w 870"/>
                  <a:gd name="T41" fmla="*/ 0 h 856"/>
                  <a:gd name="T42" fmla="*/ 0 w 870"/>
                  <a:gd name="T43" fmla="*/ 0 h 856"/>
                  <a:gd name="T44" fmla="*/ 0 w 870"/>
                  <a:gd name="T45" fmla="*/ 0 h 856"/>
                  <a:gd name="T46" fmla="*/ 0 w 870"/>
                  <a:gd name="T47" fmla="*/ 0 h 856"/>
                  <a:gd name="T48" fmla="*/ 0 w 870"/>
                  <a:gd name="T49" fmla="*/ 0 h 856"/>
                  <a:gd name="T50" fmla="*/ 0 w 870"/>
                  <a:gd name="T51" fmla="*/ 0 h 856"/>
                  <a:gd name="T52" fmla="*/ 0 w 870"/>
                  <a:gd name="T53" fmla="*/ 0 h 856"/>
                  <a:gd name="T54" fmla="*/ 0 w 870"/>
                  <a:gd name="T55" fmla="*/ 0 h 856"/>
                  <a:gd name="T56" fmla="*/ 0 w 870"/>
                  <a:gd name="T57" fmla="*/ 0 h 856"/>
                  <a:gd name="T58" fmla="*/ 0 w 870"/>
                  <a:gd name="T59" fmla="*/ 0 h 856"/>
                  <a:gd name="T60" fmla="*/ 0 w 870"/>
                  <a:gd name="T61" fmla="*/ 0 h 856"/>
                  <a:gd name="T62" fmla="*/ 0 w 870"/>
                  <a:gd name="T63" fmla="*/ 0 h 856"/>
                  <a:gd name="T64" fmla="*/ 0 w 870"/>
                  <a:gd name="T65" fmla="*/ 0 h 856"/>
                  <a:gd name="T66" fmla="*/ 0 w 870"/>
                  <a:gd name="T67" fmla="*/ 0 h 856"/>
                  <a:gd name="T68" fmla="*/ 0 w 870"/>
                  <a:gd name="T69" fmla="*/ 0 h 856"/>
                  <a:gd name="T70" fmla="*/ 0 w 870"/>
                  <a:gd name="T71" fmla="*/ 0 h 856"/>
                  <a:gd name="T72" fmla="*/ 0 w 870"/>
                  <a:gd name="T73" fmla="*/ 0 h 856"/>
                  <a:gd name="T74" fmla="*/ 0 w 870"/>
                  <a:gd name="T75" fmla="*/ 0 h 856"/>
                  <a:gd name="T76" fmla="*/ 0 w 870"/>
                  <a:gd name="T77" fmla="*/ 0 h 856"/>
                  <a:gd name="T78" fmla="*/ 0 w 870"/>
                  <a:gd name="T79" fmla="*/ 0 h 856"/>
                  <a:gd name="T80" fmla="*/ 0 w 870"/>
                  <a:gd name="T81" fmla="*/ 0 h 8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70"/>
                  <a:gd name="T124" fmla="*/ 0 h 856"/>
                  <a:gd name="T125" fmla="*/ 870 w 870"/>
                  <a:gd name="T126" fmla="*/ 856 h 8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70" h="856">
                    <a:moveTo>
                      <a:pt x="0" y="357"/>
                    </a:moveTo>
                    <a:lnTo>
                      <a:pt x="40" y="311"/>
                    </a:lnTo>
                    <a:lnTo>
                      <a:pt x="108" y="296"/>
                    </a:lnTo>
                    <a:lnTo>
                      <a:pt x="163" y="314"/>
                    </a:lnTo>
                    <a:lnTo>
                      <a:pt x="184" y="274"/>
                    </a:lnTo>
                    <a:lnTo>
                      <a:pt x="264" y="257"/>
                    </a:lnTo>
                    <a:lnTo>
                      <a:pt x="307" y="263"/>
                    </a:lnTo>
                    <a:lnTo>
                      <a:pt x="339" y="235"/>
                    </a:lnTo>
                    <a:lnTo>
                      <a:pt x="373" y="232"/>
                    </a:lnTo>
                    <a:lnTo>
                      <a:pt x="394" y="210"/>
                    </a:lnTo>
                    <a:lnTo>
                      <a:pt x="437" y="207"/>
                    </a:lnTo>
                    <a:lnTo>
                      <a:pt x="468" y="184"/>
                    </a:lnTo>
                    <a:lnTo>
                      <a:pt x="496" y="179"/>
                    </a:lnTo>
                    <a:lnTo>
                      <a:pt x="509" y="141"/>
                    </a:lnTo>
                    <a:lnTo>
                      <a:pt x="569" y="149"/>
                    </a:lnTo>
                    <a:lnTo>
                      <a:pt x="593" y="104"/>
                    </a:lnTo>
                    <a:lnTo>
                      <a:pt x="661" y="94"/>
                    </a:lnTo>
                    <a:lnTo>
                      <a:pt x="691" y="57"/>
                    </a:lnTo>
                    <a:lnTo>
                      <a:pt x="744" y="43"/>
                    </a:lnTo>
                    <a:lnTo>
                      <a:pt x="763" y="12"/>
                    </a:lnTo>
                    <a:lnTo>
                      <a:pt x="803" y="0"/>
                    </a:lnTo>
                    <a:lnTo>
                      <a:pt x="847" y="30"/>
                    </a:lnTo>
                    <a:lnTo>
                      <a:pt x="867" y="122"/>
                    </a:lnTo>
                    <a:lnTo>
                      <a:pt x="870" y="220"/>
                    </a:lnTo>
                    <a:lnTo>
                      <a:pt x="847" y="299"/>
                    </a:lnTo>
                    <a:lnTo>
                      <a:pt x="806" y="379"/>
                    </a:lnTo>
                    <a:lnTo>
                      <a:pt x="756" y="438"/>
                    </a:lnTo>
                    <a:lnTo>
                      <a:pt x="708" y="461"/>
                    </a:lnTo>
                    <a:lnTo>
                      <a:pt x="651" y="544"/>
                    </a:lnTo>
                    <a:lnTo>
                      <a:pt x="579" y="572"/>
                    </a:lnTo>
                    <a:lnTo>
                      <a:pt x="539" y="630"/>
                    </a:lnTo>
                    <a:lnTo>
                      <a:pt x="469" y="658"/>
                    </a:lnTo>
                    <a:lnTo>
                      <a:pt x="428" y="703"/>
                    </a:lnTo>
                    <a:lnTo>
                      <a:pt x="343" y="724"/>
                    </a:lnTo>
                    <a:lnTo>
                      <a:pt x="288" y="764"/>
                    </a:lnTo>
                    <a:lnTo>
                      <a:pt x="260" y="774"/>
                    </a:lnTo>
                    <a:lnTo>
                      <a:pt x="221" y="804"/>
                    </a:lnTo>
                    <a:lnTo>
                      <a:pt x="156" y="804"/>
                    </a:lnTo>
                    <a:lnTo>
                      <a:pt x="120" y="838"/>
                    </a:lnTo>
                    <a:lnTo>
                      <a:pt x="19" y="856"/>
                    </a:lnTo>
                    <a:lnTo>
                      <a:pt x="80" y="831"/>
                    </a:lnTo>
                    <a:lnTo>
                      <a:pt x="108" y="773"/>
                    </a:lnTo>
                    <a:lnTo>
                      <a:pt x="120" y="807"/>
                    </a:lnTo>
                    <a:lnTo>
                      <a:pt x="156" y="773"/>
                    </a:lnTo>
                    <a:lnTo>
                      <a:pt x="177" y="715"/>
                    </a:lnTo>
                    <a:lnTo>
                      <a:pt x="181" y="779"/>
                    </a:lnTo>
                    <a:lnTo>
                      <a:pt x="254" y="752"/>
                    </a:lnTo>
                    <a:lnTo>
                      <a:pt x="297" y="700"/>
                    </a:lnTo>
                    <a:lnTo>
                      <a:pt x="310" y="724"/>
                    </a:lnTo>
                    <a:lnTo>
                      <a:pt x="365" y="690"/>
                    </a:lnTo>
                    <a:lnTo>
                      <a:pt x="416" y="681"/>
                    </a:lnTo>
                    <a:lnTo>
                      <a:pt x="468" y="623"/>
                    </a:lnTo>
                    <a:lnTo>
                      <a:pt x="487" y="635"/>
                    </a:lnTo>
                    <a:lnTo>
                      <a:pt x="506" y="600"/>
                    </a:lnTo>
                    <a:lnTo>
                      <a:pt x="524" y="620"/>
                    </a:lnTo>
                    <a:lnTo>
                      <a:pt x="564" y="557"/>
                    </a:lnTo>
                    <a:lnTo>
                      <a:pt x="640" y="522"/>
                    </a:lnTo>
                    <a:lnTo>
                      <a:pt x="686" y="467"/>
                    </a:lnTo>
                    <a:lnTo>
                      <a:pt x="744" y="424"/>
                    </a:lnTo>
                    <a:lnTo>
                      <a:pt x="778" y="361"/>
                    </a:lnTo>
                    <a:lnTo>
                      <a:pt x="835" y="296"/>
                    </a:lnTo>
                    <a:lnTo>
                      <a:pt x="852" y="210"/>
                    </a:lnTo>
                    <a:lnTo>
                      <a:pt x="835" y="130"/>
                    </a:lnTo>
                    <a:lnTo>
                      <a:pt x="835" y="69"/>
                    </a:lnTo>
                    <a:lnTo>
                      <a:pt x="795" y="43"/>
                    </a:lnTo>
                    <a:lnTo>
                      <a:pt x="734" y="76"/>
                    </a:lnTo>
                    <a:lnTo>
                      <a:pt x="665" y="113"/>
                    </a:lnTo>
                    <a:lnTo>
                      <a:pt x="596" y="119"/>
                    </a:lnTo>
                    <a:lnTo>
                      <a:pt x="570" y="173"/>
                    </a:lnTo>
                    <a:lnTo>
                      <a:pt x="509" y="195"/>
                    </a:lnTo>
                    <a:lnTo>
                      <a:pt x="462" y="207"/>
                    </a:lnTo>
                    <a:lnTo>
                      <a:pt x="416" y="235"/>
                    </a:lnTo>
                    <a:lnTo>
                      <a:pt x="386" y="236"/>
                    </a:lnTo>
                    <a:lnTo>
                      <a:pt x="343" y="257"/>
                    </a:lnTo>
                    <a:lnTo>
                      <a:pt x="304" y="277"/>
                    </a:lnTo>
                    <a:lnTo>
                      <a:pt x="247" y="288"/>
                    </a:lnTo>
                    <a:lnTo>
                      <a:pt x="212" y="277"/>
                    </a:lnTo>
                    <a:lnTo>
                      <a:pt x="165" y="321"/>
                    </a:lnTo>
                    <a:lnTo>
                      <a:pt x="98" y="324"/>
                    </a:lnTo>
                    <a:lnTo>
                      <a:pt x="70" y="318"/>
                    </a:lnTo>
                    <a:lnTo>
                      <a:pt x="33" y="332"/>
                    </a:lnTo>
                    <a:lnTo>
                      <a:pt x="0" y="357"/>
                    </a:lnTo>
                    <a:close/>
                  </a:path>
                </a:pathLst>
              </a:custGeom>
              <a:solidFill>
                <a:srgbClr val="000000"/>
              </a:solidFill>
              <a:ln w="9525">
                <a:noFill/>
                <a:round/>
                <a:headEnd/>
                <a:tailEnd/>
              </a:ln>
            </p:spPr>
            <p:txBody>
              <a:bodyPr/>
              <a:lstStyle/>
              <a:p>
                <a:endParaRPr lang="fr-FR"/>
              </a:p>
            </p:txBody>
          </p:sp>
          <p:sp>
            <p:nvSpPr>
              <p:cNvPr id="11330" name="Freeform 1072"/>
              <p:cNvSpPr>
                <a:spLocks/>
              </p:cNvSpPr>
              <p:nvPr/>
            </p:nvSpPr>
            <p:spPr bwMode="auto">
              <a:xfrm>
                <a:off x="4102" y="1860"/>
                <a:ext cx="205" cy="70"/>
              </a:xfrm>
              <a:custGeom>
                <a:avLst/>
                <a:gdLst>
                  <a:gd name="T0" fmla="*/ 0 w 615"/>
                  <a:gd name="T1" fmla="*/ 0 h 212"/>
                  <a:gd name="T2" fmla="*/ 0 w 615"/>
                  <a:gd name="T3" fmla="*/ 0 h 212"/>
                  <a:gd name="T4" fmla="*/ 0 w 615"/>
                  <a:gd name="T5" fmla="*/ 0 h 212"/>
                  <a:gd name="T6" fmla="*/ 0 w 615"/>
                  <a:gd name="T7" fmla="*/ 0 h 212"/>
                  <a:gd name="T8" fmla="*/ 0 w 615"/>
                  <a:gd name="T9" fmla="*/ 0 h 212"/>
                  <a:gd name="T10" fmla="*/ 0 w 615"/>
                  <a:gd name="T11" fmla="*/ 0 h 212"/>
                  <a:gd name="T12" fmla="*/ 0 w 615"/>
                  <a:gd name="T13" fmla="*/ 0 h 212"/>
                  <a:gd name="T14" fmla="*/ 0 w 615"/>
                  <a:gd name="T15" fmla="*/ 0 h 212"/>
                  <a:gd name="T16" fmla="*/ 0 w 615"/>
                  <a:gd name="T17" fmla="*/ 0 h 212"/>
                  <a:gd name="T18" fmla="*/ 0 w 615"/>
                  <a:gd name="T19" fmla="*/ 0 h 212"/>
                  <a:gd name="T20" fmla="*/ 0 w 615"/>
                  <a:gd name="T21" fmla="*/ 0 h 212"/>
                  <a:gd name="T22" fmla="*/ 0 w 615"/>
                  <a:gd name="T23" fmla="*/ 0 h 212"/>
                  <a:gd name="T24" fmla="*/ 0 w 615"/>
                  <a:gd name="T25" fmla="*/ 0 h 212"/>
                  <a:gd name="T26" fmla="*/ 0 w 615"/>
                  <a:gd name="T27" fmla="*/ 0 h 212"/>
                  <a:gd name="T28" fmla="*/ 0 w 615"/>
                  <a:gd name="T29" fmla="*/ 0 h 212"/>
                  <a:gd name="T30" fmla="*/ 0 w 615"/>
                  <a:gd name="T31" fmla="*/ 0 h 212"/>
                  <a:gd name="T32" fmla="*/ 0 w 615"/>
                  <a:gd name="T33" fmla="*/ 0 h 212"/>
                  <a:gd name="T34" fmla="*/ 0 w 615"/>
                  <a:gd name="T35" fmla="*/ 0 h 212"/>
                  <a:gd name="T36" fmla="*/ 0 w 615"/>
                  <a:gd name="T37" fmla="*/ 0 h 212"/>
                  <a:gd name="T38" fmla="*/ 0 w 615"/>
                  <a:gd name="T39" fmla="*/ 0 h 212"/>
                  <a:gd name="T40" fmla="*/ 0 w 615"/>
                  <a:gd name="T41" fmla="*/ 0 h 212"/>
                  <a:gd name="T42" fmla="*/ 0 w 615"/>
                  <a:gd name="T43" fmla="*/ 0 h 212"/>
                  <a:gd name="T44" fmla="*/ 0 w 615"/>
                  <a:gd name="T45" fmla="*/ 0 h 212"/>
                  <a:gd name="T46" fmla="*/ 0 w 615"/>
                  <a:gd name="T47" fmla="*/ 0 h 212"/>
                  <a:gd name="T48" fmla="*/ 0 w 615"/>
                  <a:gd name="T49" fmla="*/ 0 h 212"/>
                  <a:gd name="T50" fmla="*/ 0 w 615"/>
                  <a:gd name="T51" fmla="*/ 0 h 212"/>
                  <a:gd name="T52" fmla="*/ 0 w 615"/>
                  <a:gd name="T53" fmla="*/ 0 h 212"/>
                  <a:gd name="T54" fmla="*/ 0 w 615"/>
                  <a:gd name="T55" fmla="*/ 0 h 212"/>
                  <a:gd name="T56" fmla="*/ 0 w 615"/>
                  <a:gd name="T57" fmla="*/ 0 h 212"/>
                  <a:gd name="T58" fmla="*/ 0 w 615"/>
                  <a:gd name="T59" fmla="*/ 0 h 212"/>
                  <a:gd name="T60" fmla="*/ 0 w 615"/>
                  <a:gd name="T61" fmla="*/ 0 h 212"/>
                  <a:gd name="T62" fmla="*/ 0 w 615"/>
                  <a:gd name="T63" fmla="*/ 0 h 212"/>
                  <a:gd name="T64" fmla="*/ 0 w 615"/>
                  <a:gd name="T65" fmla="*/ 0 h 212"/>
                  <a:gd name="T66" fmla="*/ 0 w 615"/>
                  <a:gd name="T67" fmla="*/ 0 h 212"/>
                  <a:gd name="T68" fmla="*/ 0 w 615"/>
                  <a:gd name="T69" fmla="*/ 0 h 212"/>
                  <a:gd name="T70" fmla="*/ 0 w 615"/>
                  <a:gd name="T71" fmla="*/ 0 h 212"/>
                  <a:gd name="T72" fmla="*/ 0 w 615"/>
                  <a:gd name="T73" fmla="*/ 0 h 212"/>
                  <a:gd name="T74" fmla="*/ 0 w 615"/>
                  <a:gd name="T75" fmla="*/ 0 h 212"/>
                  <a:gd name="T76" fmla="*/ 0 w 615"/>
                  <a:gd name="T77" fmla="*/ 0 h 212"/>
                  <a:gd name="T78" fmla="*/ 0 w 615"/>
                  <a:gd name="T79" fmla="*/ 0 h 212"/>
                  <a:gd name="T80" fmla="*/ 0 w 615"/>
                  <a:gd name="T81" fmla="*/ 0 h 212"/>
                  <a:gd name="T82" fmla="*/ 0 w 615"/>
                  <a:gd name="T83" fmla="*/ 0 h 212"/>
                  <a:gd name="T84" fmla="*/ 0 w 615"/>
                  <a:gd name="T85" fmla="*/ 0 h 212"/>
                  <a:gd name="T86" fmla="*/ 0 w 615"/>
                  <a:gd name="T87" fmla="*/ 0 h 212"/>
                  <a:gd name="T88" fmla="*/ 0 w 615"/>
                  <a:gd name="T89" fmla="*/ 0 h 2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15"/>
                  <a:gd name="T136" fmla="*/ 0 h 212"/>
                  <a:gd name="T137" fmla="*/ 615 w 615"/>
                  <a:gd name="T138" fmla="*/ 212 h 2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15" h="212">
                    <a:moveTo>
                      <a:pt x="11" y="209"/>
                    </a:moveTo>
                    <a:lnTo>
                      <a:pt x="64" y="212"/>
                    </a:lnTo>
                    <a:lnTo>
                      <a:pt x="112" y="184"/>
                    </a:lnTo>
                    <a:lnTo>
                      <a:pt x="147" y="190"/>
                    </a:lnTo>
                    <a:lnTo>
                      <a:pt x="172" y="172"/>
                    </a:lnTo>
                    <a:lnTo>
                      <a:pt x="216" y="168"/>
                    </a:lnTo>
                    <a:lnTo>
                      <a:pt x="257" y="157"/>
                    </a:lnTo>
                    <a:lnTo>
                      <a:pt x="278" y="141"/>
                    </a:lnTo>
                    <a:lnTo>
                      <a:pt x="311" y="136"/>
                    </a:lnTo>
                    <a:lnTo>
                      <a:pt x="352" y="114"/>
                    </a:lnTo>
                    <a:lnTo>
                      <a:pt x="394" y="129"/>
                    </a:lnTo>
                    <a:lnTo>
                      <a:pt x="425" y="111"/>
                    </a:lnTo>
                    <a:lnTo>
                      <a:pt x="447" y="81"/>
                    </a:lnTo>
                    <a:lnTo>
                      <a:pt x="492" y="86"/>
                    </a:lnTo>
                    <a:lnTo>
                      <a:pt x="526" y="56"/>
                    </a:lnTo>
                    <a:lnTo>
                      <a:pt x="575" y="56"/>
                    </a:lnTo>
                    <a:lnTo>
                      <a:pt x="615" y="40"/>
                    </a:lnTo>
                    <a:lnTo>
                      <a:pt x="570" y="43"/>
                    </a:lnTo>
                    <a:lnTo>
                      <a:pt x="533" y="40"/>
                    </a:lnTo>
                    <a:lnTo>
                      <a:pt x="492" y="67"/>
                    </a:lnTo>
                    <a:lnTo>
                      <a:pt x="447" y="67"/>
                    </a:lnTo>
                    <a:lnTo>
                      <a:pt x="447" y="15"/>
                    </a:lnTo>
                    <a:lnTo>
                      <a:pt x="422" y="81"/>
                    </a:lnTo>
                    <a:lnTo>
                      <a:pt x="358" y="92"/>
                    </a:lnTo>
                    <a:lnTo>
                      <a:pt x="364" y="61"/>
                    </a:lnTo>
                    <a:lnTo>
                      <a:pt x="346" y="40"/>
                    </a:lnTo>
                    <a:lnTo>
                      <a:pt x="314" y="16"/>
                    </a:lnTo>
                    <a:lnTo>
                      <a:pt x="303" y="0"/>
                    </a:lnTo>
                    <a:lnTo>
                      <a:pt x="311" y="25"/>
                    </a:lnTo>
                    <a:lnTo>
                      <a:pt x="346" y="56"/>
                    </a:lnTo>
                    <a:lnTo>
                      <a:pt x="321" y="86"/>
                    </a:lnTo>
                    <a:lnTo>
                      <a:pt x="314" y="107"/>
                    </a:lnTo>
                    <a:lnTo>
                      <a:pt x="288" y="117"/>
                    </a:lnTo>
                    <a:lnTo>
                      <a:pt x="281" y="64"/>
                    </a:lnTo>
                    <a:lnTo>
                      <a:pt x="260" y="114"/>
                    </a:lnTo>
                    <a:lnTo>
                      <a:pt x="223" y="141"/>
                    </a:lnTo>
                    <a:lnTo>
                      <a:pt x="199" y="151"/>
                    </a:lnTo>
                    <a:lnTo>
                      <a:pt x="159" y="162"/>
                    </a:lnTo>
                    <a:lnTo>
                      <a:pt x="156" y="141"/>
                    </a:lnTo>
                    <a:lnTo>
                      <a:pt x="125" y="168"/>
                    </a:lnTo>
                    <a:lnTo>
                      <a:pt x="92" y="157"/>
                    </a:lnTo>
                    <a:lnTo>
                      <a:pt x="58" y="193"/>
                    </a:lnTo>
                    <a:lnTo>
                      <a:pt x="0" y="193"/>
                    </a:lnTo>
                    <a:lnTo>
                      <a:pt x="11" y="209"/>
                    </a:lnTo>
                    <a:close/>
                  </a:path>
                </a:pathLst>
              </a:custGeom>
              <a:solidFill>
                <a:srgbClr val="000000"/>
              </a:solidFill>
              <a:ln w="9525">
                <a:noFill/>
                <a:round/>
                <a:headEnd/>
                <a:tailEnd/>
              </a:ln>
            </p:spPr>
            <p:txBody>
              <a:bodyPr/>
              <a:lstStyle/>
              <a:p>
                <a:endParaRPr lang="fr-FR"/>
              </a:p>
            </p:txBody>
          </p:sp>
        </p:grpSp>
        <p:pic>
          <p:nvPicPr>
            <p:cNvPr id="11291" name="Picture 27" descr="Gold_Key.bmp"/>
            <p:cNvPicPr>
              <a:picLocks noChangeAspect="1"/>
            </p:cNvPicPr>
            <p:nvPr/>
          </p:nvPicPr>
          <p:blipFill>
            <a:blip r:embed="rId3"/>
            <a:srcRect/>
            <a:stretch>
              <a:fillRect/>
            </a:stretch>
          </p:blipFill>
          <p:spPr bwMode="auto">
            <a:xfrm>
              <a:off x="3005138" y="4267150"/>
              <a:ext cx="176213" cy="285750"/>
            </a:xfrm>
            <a:prstGeom prst="rect">
              <a:avLst/>
            </a:prstGeom>
            <a:noFill/>
            <a:ln w="9525">
              <a:noFill/>
              <a:miter lim="800000"/>
              <a:headEnd/>
              <a:tailEnd/>
            </a:ln>
          </p:spPr>
        </p:pic>
        <p:pic>
          <p:nvPicPr>
            <p:cNvPr id="11292" name="Picture 27" descr="Gold_Key.bmp"/>
            <p:cNvPicPr>
              <a:picLocks noChangeAspect="1"/>
            </p:cNvPicPr>
            <p:nvPr/>
          </p:nvPicPr>
          <p:blipFill>
            <a:blip r:embed="rId3"/>
            <a:srcRect/>
            <a:stretch>
              <a:fillRect/>
            </a:stretch>
          </p:blipFill>
          <p:spPr bwMode="auto">
            <a:xfrm>
              <a:off x="3429794" y="3602830"/>
              <a:ext cx="176213" cy="285750"/>
            </a:xfrm>
            <a:prstGeom prst="rect">
              <a:avLst/>
            </a:prstGeom>
            <a:noFill/>
            <a:ln w="9525">
              <a:noFill/>
              <a:miter lim="800000"/>
              <a:headEnd/>
              <a:tailEnd/>
            </a:ln>
          </p:spPr>
        </p:pic>
        <p:pic>
          <p:nvPicPr>
            <p:cNvPr id="11293" name="Picture 29" descr="doorLock.jpg"/>
            <p:cNvPicPr>
              <a:picLocks noChangeAspect="1"/>
            </p:cNvPicPr>
            <p:nvPr/>
          </p:nvPicPr>
          <p:blipFill>
            <a:blip r:embed="rId4"/>
            <a:srcRect/>
            <a:stretch>
              <a:fillRect/>
            </a:stretch>
          </p:blipFill>
          <p:spPr bwMode="auto">
            <a:xfrm>
              <a:off x="3929063" y="2857500"/>
              <a:ext cx="500062" cy="344488"/>
            </a:xfrm>
            <a:prstGeom prst="rect">
              <a:avLst/>
            </a:prstGeom>
            <a:noFill/>
            <a:ln w="9525">
              <a:solidFill>
                <a:schemeClr val="tx1"/>
              </a:solidFill>
              <a:miter lim="800000"/>
              <a:headEnd/>
              <a:tailEnd/>
            </a:ln>
          </p:spPr>
        </p:pic>
        <p:pic>
          <p:nvPicPr>
            <p:cNvPr id="11294" name="Picture 29" descr="doorLock.jpg"/>
            <p:cNvPicPr>
              <a:picLocks noChangeAspect="1"/>
            </p:cNvPicPr>
            <p:nvPr/>
          </p:nvPicPr>
          <p:blipFill>
            <a:blip r:embed="rId4"/>
            <a:srcRect/>
            <a:stretch>
              <a:fillRect/>
            </a:stretch>
          </p:blipFill>
          <p:spPr bwMode="auto">
            <a:xfrm>
              <a:off x="3915409" y="3790949"/>
              <a:ext cx="500062" cy="344488"/>
            </a:xfrm>
            <a:prstGeom prst="rect">
              <a:avLst/>
            </a:prstGeom>
            <a:noFill/>
            <a:ln w="9525">
              <a:solidFill>
                <a:schemeClr val="tx1"/>
              </a:solidFill>
              <a:miter lim="800000"/>
              <a:headEnd/>
              <a:tailEnd/>
            </a:ln>
          </p:spPr>
        </p:pic>
        <p:pic>
          <p:nvPicPr>
            <p:cNvPr id="11295" name="Picture 27" descr="Gold_Key.bmp"/>
            <p:cNvPicPr>
              <a:picLocks noChangeAspect="1"/>
            </p:cNvPicPr>
            <p:nvPr/>
          </p:nvPicPr>
          <p:blipFill>
            <a:blip r:embed="rId3"/>
            <a:srcRect/>
            <a:stretch>
              <a:fillRect/>
            </a:stretch>
          </p:blipFill>
          <p:spPr bwMode="auto">
            <a:xfrm>
              <a:off x="2370137" y="1825422"/>
              <a:ext cx="176213" cy="285750"/>
            </a:xfrm>
            <a:prstGeom prst="rect">
              <a:avLst/>
            </a:prstGeom>
            <a:noFill/>
            <a:ln w="9525">
              <a:noFill/>
              <a:miter lim="800000"/>
              <a:headEnd/>
              <a:tailEnd/>
            </a:ln>
          </p:spPr>
        </p:pic>
      </p:grpSp>
      <p:grpSp>
        <p:nvGrpSpPr>
          <p:cNvPr id="11271" name="Group 144"/>
          <p:cNvGrpSpPr>
            <a:grpSpLocks/>
          </p:cNvGrpSpPr>
          <p:nvPr/>
        </p:nvGrpSpPr>
        <p:grpSpPr bwMode="auto">
          <a:xfrm>
            <a:off x="3911600" y="2359025"/>
            <a:ext cx="908050" cy="815975"/>
            <a:chOff x="6588125" y="2428869"/>
            <a:chExt cx="1341461" cy="1431932"/>
          </a:xfrm>
        </p:grpSpPr>
        <p:sp>
          <p:nvSpPr>
            <p:cNvPr id="11273" name="Oval 39"/>
            <p:cNvSpPr>
              <a:spLocks noChangeArrowheads="1"/>
            </p:cNvSpPr>
            <p:nvPr/>
          </p:nvSpPr>
          <p:spPr bwMode="auto">
            <a:xfrm>
              <a:off x="6588125" y="2428869"/>
              <a:ext cx="1341461" cy="1431932"/>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11274" name="AutoShape 40"/>
            <p:cNvSpPr>
              <a:spLocks noChangeArrowheads="1"/>
            </p:cNvSpPr>
            <p:nvPr/>
          </p:nvSpPr>
          <p:spPr bwMode="auto">
            <a:xfrm>
              <a:off x="7021513" y="2879725"/>
              <a:ext cx="144462" cy="144463"/>
            </a:xfrm>
            <a:prstGeom prst="flowChartConnector">
              <a:avLst/>
            </a:prstGeom>
            <a:solidFill>
              <a:schemeClr val="accent1"/>
            </a:solidFill>
            <a:ln w="9525">
              <a:solidFill>
                <a:schemeClr val="tx1"/>
              </a:solidFill>
              <a:round/>
              <a:headEnd/>
              <a:tailEnd/>
            </a:ln>
          </p:spPr>
          <p:txBody>
            <a:bodyPr wrap="none" anchor="ctr"/>
            <a:lstStyle/>
            <a:p>
              <a:endParaRPr lang="en-US"/>
            </a:p>
          </p:txBody>
        </p:sp>
        <p:sp>
          <p:nvSpPr>
            <p:cNvPr id="11275" name="AutoShape 41"/>
            <p:cNvSpPr>
              <a:spLocks noChangeArrowheads="1"/>
            </p:cNvSpPr>
            <p:nvPr/>
          </p:nvSpPr>
          <p:spPr bwMode="auto">
            <a:xfrm>
              <a:off x="7453313" y="2879725"/>
              <a:ext cx="144462" cy="144463"/>
            </a:xfrm>
            <a:prstGeom prst="flowChartConnector">
              <a:avLst/>
            </a:prstGeom>
            <a:solidFill>
              <a:schemeClr val="accent1"/>
            </a:solidFill>
            <a:ln w="9525">
              <a:solidFill>
                <a:schemeClr val="tx1"/>
              </a:solidFill>
              <a:round/>
              <a:headEnd/>
              <a:tailEnd/>
            </a:ln>
          </p:spPr>
          <p:txBody>
            <a:bodyPr wrap="none" anchor="ctr"/>
            <a:lstStyle/>
            <a:p>
              <a:endParaRPr lang="en-US"/>
            </a:p>
          </p:txBody>
        </p:sp>
        <p:sp>
          <p:nvSpPr>
            <p:cNvPr id="11276" name="AutoShape 42"/>
            <p:cNvSpPr>
              <a:spLocks noChangeArrowheads="1"/>
            </p:cNvSpPr>
            <p:nvPr/>
          </p:nvSpPr>
          <p:spPr bwMode="auto">
            <a:xfrm rot="5400000" flipV="1">
              <a:off x="7187407" y="3045619"/>
              <a:ext cx="169862" cy="647700"/>
            </a:xfrm>
            <a:prstGeom prst="moon">
              <a:avLst>
                <a:gd name="adj" fmla="val 58042"/>
              </a:avLst>
            </a:prstGeom>
            <a:solidFill>
              <a:schemeClr val="accent1"/>
            </a:solidFill>
            <a:ln w="9525">
              <a:solidFill>
                <a:schemeClr val="tx1"/>
              </a:solidFill>
              <a:miter lim="800000"/>
              <a:headEnd/>
              <a:tailEnd/>
            </a:ln>
          </p:spPr>
          <p:txBody>
            <a:bodyPr wrap="none" anchor="ctr"/>
            <a:lstStyle/>
            <a:p>
              <a:endParaRPr lang="en-US"/>
            </a:p>
          </p:txBody>
        </p:sp>
      </p:grpSp>
      <p:pic>
        <p:nvPicPr>
          <p:cNvPr id="11272" name="Picture 3" descr="cdic.jpg"/>
          <p:cNvPicPr>
            <a:picLocks noChangeAspect="1"/>
          </p:cNvPicPr>
          <p:nvPr/>
        </p:nvPicPr>
        <p:blipFill>
          <a:blip r:embed="rId5"/>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nSXeAQmu0.o4I9T8.zG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OJNphAfDUiT5AlGxn9j8A"/>
</p:tagLst>
</file>

<file path=ppt/theme/theme1.xml><?xml version="1.0" encoding="utf-8"?>
<a:theme xmlns:a="http://schemas.openxmlformats.org/drawingml/2006/main" name="PowerPoint_Toolbox">
  <a:themeElements>
    <a:clrScheme name="PowerPoint_Toolbox 8">
      <a:dk1>
        <a:srgbClr val="000000"/>
      </a:dk1>
      <a:lt1>
        <a:srgbClr val="FFFFFF"/>
      </a:lt1>
      <a:dk2>
        <a:srgbClr val="82786F"/>
      </a:dk2>
      <a:lt2>
        <a:srgbClr val="82786F"/>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fontScheme name="PowerPoint_Toolbox">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cs typeface="Arial" pitchFamily="34" charset="0"/>
          </a:defRPr>
        </a:defPPr>
      </a:lstStyle>
    </a:lnDef>
  </a:objectDefaults>
  <a:extraClrSchemeLst>
    <a:extraClrScheme>
      <a:clrScheme name="PowerPoint_Toolbox 1">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E64A0E"/>
        </a:hlink>
        <a:folHlink>
          <a:srgbClr val="82786F"/>
        </a:folHlink>
      </a:clrScheme>
      <a:clrMap bg1="lt1" tx1="dk1" bg2="lt2" tx2="dk2" accent1="accent1" accent2="accent2" accent3="accent3" accent4="accent4" accent5="accent5" accent6="accent6" hlink="hlink" folHlink="folHlink"/>
    </a:extraClrScheme>
    <a:extraClrScheme>
      <a:clrScheme name="PowerPoint_Toolbox 2">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82786F"/>
        </a:folHlink>
      </a:clrScheme>
      <a:clrMap bg1="lt1" tx1="dk1" bg2="lt2" tx2="dk2" accent1="accent1" accent2="accent2" accent3="accent3" accent4="accent4" accent5="accent5" accent6="accent6" hlink="hlink" folHlink="folHlink"/>
    </a:extraClrScheme>
    <a:extraClrScheme>
      <a:clrScheme name="PowerPoint_Toolbox 3">
        <a:dk1>
          <a:srgbClr val="000000"/>
        </a:dk1>
        <a:lt1>
          <a:srgbClr val="FFFFFF"/>
        </a:lt1>
        <a:dk2>
          <a:srgbClr val="AEA79F"/>
        </a:dk2>
        <a:lt2>
          <a:srgbClr val="E64A0E"/>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82786F"/>
        </a:folHlink>
      </a:clrScheme>
      <a:clrMap bg1="lt1" tx1="dk1" bg2="lt2" tx2="dk2" accent1="accent1" accent2="accent2" accent3="accent3" accent4="accent4" accent5="accent5" accent6="accent6" hlink="hlink" folHlink="folHlink"/>
    </a:extraClrScheme>
    <a:extraClrScheme>
      <a:clrScheme name="PowerPoint_Toolbox 4">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5">
        <a:dk1>
          <a:srgbClr val="000000"/>
        </a:dk1>
        <a:lt1>
          <a:srgbClr val="FFFFFF"/>
        </a:lt1>
        <a:dk2>
          <a:srgbClr val="001965"/>
        </a:dk2>
        <a:lt2>
          <a:srgbClr val="001965"/>
        </a:lt2>
        <a:accent1>
          <a:srgbClr val="009FDA"/>
        </a:accent1>
        <a:accent2>
          <a:srgbClr val="82786F"/>
        </a:accent2>
        <a:accent3>
          <a:srgbClr val="FFFFFF"/>
        </a:accent3>
        <a:accent4>
          <a:srgbClr val="000000"/>
        </a:accent4>
        <a:accent5>
          <a:srgbClr val="AACDEA"/>
        </a:accent5>
        <a:accent6>
          <a:srgbClr val="756C64"/>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6">
        <a:dk1>
          <a:srgbClr val="000000"/>
        </a:dk1>
        <a:lt1>
          <a:srgbClr val="FFFFFF"/>
        </a:lt1>
        <a:dk2>
          <a:srgbClr val="001965"/>
        </a:dk2>
        <a:lt2>
          <a:srgbClr val="82786F"/>
        </a:lt2>
        <a:accent1>
          <a:srgbClr val="009FDA"/>
        </a:accent1>
        <a:accent2>
          <a:srgbClr val="82786F"/>
        </a:accent2>
        <a:accent3>
          <a:srgbClr val="FFFFFF"/>
        </a:accent3>
        <a:accent4>
          <a:srgbClr val="000000"/>
        </a:accent4>
        <a:accent5>
          <a:srgbClr val="AACDEA"/>
        </a:accent5>
        <a:accent6>
          <a:srgbClr val="756C64"/>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7">
        <a:dk1>
          <a:srgbClr val="000000"/>
        </a:dk1>
        <a:lt1>
          <a:srgbClr val="FFFFFF"/>
        </a:lt1>
        <a:dk2>
          <a:srgbClr val="001965"/>
        </a:dk2>
        <a:lt2>
          <a:srgbClr val="82786F"/>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8">
        <a:dk1>
          <a:srgbClr val="000000"/>
        </a:dk1>
        <a:lt1>
          <a:srgbClr val="FFFFFF"/>
        </a:lt1>
        <a:dk2>
          <a:srgbClr val="82786F"/>
        </a:dk2>
        <a:lt2>
          <a:srgbClr val="82786F"/>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9">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E64A0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cs typeface="Arial" pitchFamily="34"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Kontortema">
  <a:themeElements>
    <a:clrScheme name="">
      <a:dk1>
        <a:srgbClr val="000000"/>
      </a:dk1>
      <a:lt1>
        <a:srgbClr val="FFFFFF"/>
      </a:lt1>
      <a:dk2>
        <a:srgbClr val="001965"/>
      </a:dk2>
      <a:lt2>
        <a:srgbClr val="8DA2CC"/>
      </a:lt2>
      <a:accent1>
        <a:srgbClr val="00B7FF"/>
      </a:accent1>
      <a:accent2>
        <a:srgbClr val="001965"/>
      </a:accent2>
      <a:accent3>
        <a:srgbClr val="FFFFFF"/>
      </a:accent3>
      <a:accent4>
        <a:srgbClr val="000000"/>
      </a:accent4>
      <a:accent5>
        <a:srgbClr val="AAD8FF"/>
      </a:accent5>
      <a:accent6>
        <a:srgbClr val="00165B"/>
      </a:accent6>
      <a:hlink>
        <a:srgbClr val="E64A0E"/>
      </a:hlink>
      <a:folHlink>
        <a:srgbClr val="8B7D7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Kontortema">
  <a:themeElements>
    <a:clrScheme name="">
      <a:dk1>
        <a:srgbClr val="000000"/>
      </a:dk1>
      <a:lt1>
        <a:srgbClr val="FFFFFF"/>
      </a:lt1>
      <a:dk2>
        <a:srgbClr val="001965"/>
      </a:dk2>
      <a:lt2>
        <a:srgbClr val="8DA2CC"/>
      </a:lt2>
      <a:accent1>
        <a:srgbClr val="00B7FF"/>
      </a:accent1>
      <a:accent2>
        <a:srgbClr val="001965"/>
      </a:accent2>
      <a:accent3>
        <a:srgbClr val="FFFFFF"/>
      </a:accent3>
      <a:accent4>
        <a:srgbClr val="000000"/>
      </a:accent4>
      <a:accent5>
        <a:srgbClr val="AAD8FF"/>
      </a:accent5>
      <a:accent6>
        <a:srgbClr val="00165B"/>
      </a:accent6>
      <a:hlink>
        <a:srgbClr val="E64A0E"/>
      </a:hlink>
      <a:folHlink>
        <a:srgbClr val="8B7D7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28</TotalTime>
  <Words>2901</Words>
  <Application>Microsoft Office PowerPoint</Application>
  <PresentationFormat>Affichage à l'écran (4:3)</PresentationFormat>
  <Paragraphs>226</Paragraphs>
  <Slides>25</Slides>
  <Notes>24</Notes>
  <HiddenSlides>0</HiddenSlides>
  <MMClips>0</MMClips>
  <ScaleCrop>false</ScaleCrop>
  <HeadingPairs>
    <vt:vector size="6" baseType="variant">
      <vt:variant>
        <vt:lpstr>Polices utilisées</vt:lpstr>
      </vt:variant>
      <vt:variant>
        <vt:i4>3</vt:i4>
      </vt:variant>
      <vt:variant>
        <vt:lpstr>Thème</vt:lpstr>
      </vt:variant>
      <vt:variant>
        <vt:i4>2</vt:i4>
      </vt:variant>
      <vt:variant>
        <vt:lpstr>Titres des diapositives</vt:lpstr>
      </vt:variant>
      <vt:variant>
        <vt:i4>25</vt:i4>
      </vt:variant>
    </vt:vector>
  </HeadingPairs>
  <TitlesOfParts>
    <vt:vector size="30" baseType="lpstr">
      <vt:lpstr>Verdana</vt:lpstr>
      <vt:lpstr>Arial</vt:lpstr>
      <vt:lpstr>ＭＳ Ｐゴシック</vt:lpstr>
      <vt:lpstr>PowerPoint_Toolbox</vt:lpstr>
      <vt:lpstr>Custom Design</vt:lpstr>
      <vt:lpstr>Diagnostiquer le diabète chez l'enfant</vt:lpstr>
      <vt:lpstr>Diapositive 2</vt:lpstr>
      <vt:lpstr>Présomption du diabète</vt:lpstr>
      <vt:lpstr>Le diabète de l'enfant</vt:lpstr>
      <vt:lpstr>Diabète</vt:lpstr>
      <vt:lpstr>Insuline</vt:lpstr>
      <vt:lpstr>Glucose</vt:lpstr>
      <vt:lpstr>Insuline</vt:lpstr>
      <vt:lpstr> Le diabète de type 1</vt:lpstr>
      <vt:lpstr>Diabète de type 1 (suite)</vt:lpstr>
      <vt:lpstr>Diabète de type 1 (suite)</vt:lpstr>
      <vt:lpstr>Corps cétoniques</vt:lpstr>
      <vt:lpstr>Symptômes et signes du  diabète de type 1</vt:lpstr>
      <vt:lpstr>Poster de la Journée mondiale du diabète</vt:lpstr>
      <vt:lpstr>Le diabète de type 2</vt:lpstr>
      <vt:lpstr>Les autres types de diabète</vt:lpstr>
      <vt:lpstr>Questions</vt:lpstr>
      <vt:lpstr>Confirmation du diagnostic</vt:lpstr>
      <vt:lpstr>Critères de diagnostic</vt:lpstr>
      <vt:lpstr>Poser un diagnostic</vt:lpstr>
      <vt:lpstr>Glucomètres</vt:lpstr>
      <vt:lpstr>Précautions</vt:lpstr>
      <vt:lpstr>Entracte</vt:lpstr>
      <vt:lpstr>Questions</vt:lpstr>
      <vt:lpstr>Diapositive 25</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s nummer 1</dc:title>
  <dc:creator>CLUD</dc:creator>
  <cp:lastModifiedBy>DEHAYEM</cp:lastModifiedBy>
  <cp:revision>65</cp:revision>
  <dcterms:created xsi:type="dcterms:W3CDTF">2010-03-21T09:30:48Z</dcterms:created>
  <dcterms:modified xsi:type="dcterms:W3CDTF">2011-05-14T01:13:04Z</dcterms:modified>
</cp:coreProperties>
</file>